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  <p:sldMasterId id="2147483664" r:id="rId3"/>
  </p:sldMasterIdLst>
  <p:notesMasterIdLst>
    <p:notesMasterId r:id="rId14"/>
  </p:notesMasterIdLst>
  <p:sldIdLst>
    <p:sldId id="256" r:id="rId4"/>
    <p:sldId id="283" r:id="rId5"/>
    <p:sldId id="289" r:id="rId6"/>
    <p:sldId id="280" r:id="rId7"/>
    <p:sldId id="296" r:id="rId8"/>
    <p:sldId id="288" r:id="rId9"/>
    <p:sldId id="294" r:id="rId10"/>
    <p:sldId id="295" r:id="rId11"/>
    <p:sldId id="272" r:id="rId12"/>
    <p:sldId id="27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=""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52D74"/>
    <a:srgbClr val="1F8492"/>
    <a:srgbClr val="101935"/>
    <a:srgbClr val="A53975"/>
    <a:srgbClr val="564787"/>
    <a:srgbClr val="DBCBD8"/>
    <a:srgbClr val="F2FDFF"/>
    <a:srgbClr val="9AD4D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5" autoAdjust="0"/>
    <p:restoredTop sz="90307" autoAdjust="0"/>
  </p:normalViewPr>
  <p:slideViewPr>
    <p:cSldViewPr snapToGrid="0">
      <p:cViewPr>
        <p:scale>
          <a:sx n="66" d="100"/>
          <a:sy n="66" d="100"/>
        </p:scale>
        <p:origin x="-900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17012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© Copyright </a:t>
            </a:r>
            <a:r>
              <a:rPr lang="en-US" b="1"/>
              <a:t>PresentationGO.com</a:t>
            </a:r>
            <a:r>
              <a:rPr lang="en-US"/>
              <a:t> – The free PowerPoint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4444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© Copyright </a:t>
            </a:r>
            <a:r>
              <a:rPr lang="en-US" b="1" dirty="0"/>
              <a:t>PresentationGO.com</a:t>
            </a:r>
            <a:r>
              <a:rPr lang="en-US" dirty="0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D2766-C49B-4C1A-9FEE-6F146754B0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4225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203366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5912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40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95572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97AD7B8-2A79-4B15-B8F9-7D2C252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0CD3D3E-0564-4F96-98E5-33109CAF9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3051355-5E85-4B04-866B-4EB218DB3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57385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EF0440-6787-4FB6-91F7-986D630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239B314-C197-4CF7-8C4A-A0F666AFC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5E3161F-7401-4CE3-88F9-E3B43A17F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74AEB55-2516-4D24-ABCE-0E2FBF67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7D310D6-21B6-45B8-9A1B-D0108DB6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9F3178B-92CA-4AA6-8394-8DD1D5C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97198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7B9822-D706-4383-BB13-021207C1A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F99D451-7321-4604-BAAE-CEB91BAD12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A96B4F2-80BF-4C4F-8EB8-B3AF48321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3EFBFA1-C918-4257-967E-A04CD651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EBE88E6-9E52-4051-9CE3-1DA07A89B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313B7B-53A7-4AC0-A7C3-15B16B8E2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65206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0C09CB-98DD-4E7D-83F9-6744ECC64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4E4A381-4D6F-4282-8C0E-E67E02AAB9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DF1B113-783F-424C-AF4F-82E169EF1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DFC3965-B169-42D5-83F5-7930B15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F0C933D-B0F7-4630-B315-83071450C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71058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7A59D32-1BCB-4D1B-BF59-A9E5F6E73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EB08353-DE13-47C1-9FB2-6E20CFA560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AA202E-CC82-4338-A1CB-AD8F7FDF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01F3E0-F87C-43F3-AA7B-EF8D99CB1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1129CA5-0E42-4851-8F2B-516ECC90C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020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9C760-6439-437F-BBB1-C3856724A8A8}" type="datetime1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51411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12554553" y="1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To insert your own icons*: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nsert</a:t>
              </a:r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 &gt;&gt; </a:t>
              </a:r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cons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200" i="1">
                  <a:solidFill>
                    <a:schemeClr val="accent2">
                      <a:lumMod val="50000"/>
                    </a:scheme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2888695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xmlns="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167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9DA8CF17-3B79-4E5E-9A56-F9AEAFDFD232}"/>
              </a:ext>
            </a:extLst>
          </p:cNvPr>
          <p:cNvSpPr/>
          <p:nvPr userDrawn="1"/>
        </p:nvSpPr>
        <p:spPr>
          <a:xfrm>
            <a:off x="-1" y="2366693"/>
            <a:ext cx="12192000" cy="3939218"/>
          </a:xfrm>
          <a:custGeom>
            <a:avLst/>
            <a:gdLst>
              <a:gd name="connsiteX0" fmla="*/ 11686551 w 12192000"/>
              <a:gd name="connsiteY0" fmla="*/ 0 h 3939218"/>
              <a:gd name="connsiteX1" fmla="*/ 12192000 w 12192000"/>
              <a:gd name="connsiteY1" fmla="*/ 229078 h 3939218"/>
              <a:gd name="connsiteX2" fmla="*/ 12192000 w 12192000"/>
              <a:gd name="connsiteY2" fmla="*/ 237340 h 3939218"/>
              <a:gd name="connsiteX3" fmla="*/ 12192000 w 12192000"/>
              <a:gd name="connsiteY3" fmla="*/ 541847 h 3939218"/>
              <a:gd name="connsiteX4" fmla="*/ 12192000 w 12192000"/>
              <a:gd name="connsiteY4" fmla="*/ 801174 h 3939218"/>
              <a:gd name="connsiteX5" fmla="*/ 12192000 w 12192000"/>
              <a:gd name="connsiteY5" fmla="*/ 809436 h 3939218"/>
              <a:gd name="connsiteX6" fmla="*/ 12192000 w 12192000"/>
              <a:gd name="connsiteY6" fmla="*/ 1113943 h 3939218"/>
              <a:gd name="connsiteX7" fmla="*/ 12192000 w 12192000"/>
              <a:gd name="connsiteY7" fmla="*/ 2519036 h 3939218"/>
              <a:gd name="connsiteX8" fmla="*/ 12192000 w 12192000"/>
              <a:gd name="connsiteY8" fmla="*/ 3091132 h 3939218"/>
              <a:gd name="connsiteX9" fmla="*/ 12192000 w 12192000"/>
              <a:gd name="connsiteY9" fmla="*/ 3224769 h 3939218"/>
              <a:gd name="connsiteX10" fmla="*/ 12192000 w 12192000"/>
              <a:gd name="connsiteY10" fmla="*/ 3367122 h 3939218"/>
              <a:gd name="connsiteX11" fmla="*/ 12192000 w 12192000"/>
              <a:gd name="connsiteY11" fmla="*/ 3796865 h 3939218"/>
              <a:gd name="connsiteX12" fmla="*/ 12192000 w 12192000"/>
              <a:gd name="connsiteY12" fmla="*/ 3939218 h 3939218"/>
              <a:gd name="connsiteX13" fmla="*/ 0 w 12192000"/>
              <a:gd name="connsiteY13" fmla="*/ 3939218 h 3939218"/>
              <a:gd name="connsiteX14" fmla="*/ 0 w 12192000"/>
              <a:gd name="connsiteY14" fmla="*/ 3367122 h 3939218"/>
              <a:gd name="connsiteX15" fmla="*/ 0 w 12192000"/>
              <a:gd name="connsiteY15" fmla="*/ 3091132 h 3939218"/>
              <a:gd name="connsiteX16" fmla="*/ 0 w 12192000"/>
              <a:gd name="connsiteY16" fmla="*/ 2519036 h 3939218"/>
              <a:gd name="connsiteX17" fmla="*/ 1 w 12192000"/>
              <a:gd name="connsiteY17" fmla="*/ 2519036 h 3939218"/>
              <a:gd name="connsiteX18" fmla="*/ 1 w 12192000"/>
              <a:gd name="connsiteY18" fmla="*/ 847204 h 3939218"/>
              <a:gd name="connsiteX19" fmla="*/ 1 w 12192000"/>
              <a:gd name="connsiteY19" fmla="*/ 275108 h 3939218"/>
              <a:gd name="connsiteX20" fmla="*/ 3 w 12192000"/>
              <a:gd name="connsiteY20" fmla="*/ 275108 h 3939218"/>
              <a:gd name="connsiteX21" fmla="*/ 3 w 12192000"/>
              <a:gd name="connsiteY21" fmla="*/ 241498 h 3939218"/>
              <a:gd name="connsiteX22" fmla="*/ 375242 w 12192000"/>
              <a:gd name="connsiteY22" fmla="*/ 72201 h 3939218"/>
              <a:gd name="connsiteX23" fmla="*/ 1411592 w 12192000"/>
              <a:gd name="connsiteY23" fmla="*/ 106156 h 3939218"/>
              <a:gd name="connsiteX24" fmla="*/ 2584071 w 12192000"/>
              <a:gd name="connsiteY24" fmla="*/ 76983 h 3939218"/>
              <a:gd name="connsiteX25" fmla="*/ 3002517 w 12192000"/>
              <a:gd name="connsiteY25" fmla="*/ 199892 h 3939218"/>
              <a:gd name="connsiteX26" fmla="*/ 3663036 w 12192000"/>
              <a:gd name="connsiteY26" fmla="*/ 57375 h 3939218"/>
              <a:gd name="connsiteX27" fmla="*/ 4195120 w 12192000"/>
              <a:gd name="connsiteY27" fmla="*/ 199892 h 3939218"/>
              <a:gd name="connsiteX28" fmla="*/ 4940273 w 12192000"/>
              <a:gd name="connsiteY28" fmla="*/ 42551 h 3939218"/>
              <a:gd name="connsiteX29" fmla="*/ 5394823 w 12192000"/>
              <a:gd name="connsiteY29" fmla="*/ 199892 h 3939218"/>
              <a:gd name="connsiteX30" fmla="*/ 6022790 w 12192000"/>
              <a:gd name="connsiteY30" fmla="*/ 37768 h 3939218"/>
              <a:gd name="connsiteX31" fmla="*/ 6039003 w 12192000"/>
              <a:gd name="connsiteY31" fmla="*/ 34434 h 3939218"/>
              <a:gd name="connsiteX32" fmla="*/ 7075355 w 12192000"/>
              <a:gd name="connsiteY32" fmla="*/ 68389 h 3939218"/>
              <a:gd name="connsiteX33" fmla="*/ 8247833 w 12192000"/>
              <a:gd name="connsiteY33" fmla="*/ 39215 h 3939218"/>
              <a:gd name="connsiteX34" fmla="*/ 8666278 w 12192000"/>
              <a:gd name="connsiteY34" fmla="*/ 162124 h 3939218"/>
              <a:gd name="connsiteX35" fmla="*/ 9326797 w 12192000"/>
              <a:gd name="connsiteY35" fmla="*/ 19608 h 3939218"/>
              <a:gd name="connsiteX36" fmla="*/ 9858881 w 12192000"/>
              <a:gd name="connsiteY36" fmla="*/ 162124 h 3939218"/>
              <a:gd name="connsiteX37" fmla="*/ 10604035 w 12192000"/>
              <a:gd name="connsiteY37" fmla="*/ 4783 h 3939218"/>
              <a:gd name="connsiteX38" fmla="*/ 11058584 w 12192000"/>
              <a:gd name="connsiteY38" fmla="*/ 162124 h 3939218"/>
              <a:gd name="connsiteX39" fmla="*/ 11686551 w 12192000"/>
              <a:gd name="connsiteY39" fmla="*/ 0 h 393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192000" h="3939218">
                <a:moveTo>
                  <a:pt x="11686551" y="0"/>
                </a:moveTo>
                <a:cubicBezTo>
                  <a:pt x="11674120" y="108560"/>
                  <a:pt x="11930989" y="231948"/>
                  <a:pt x="12192000" y="229078"/>
                </a:cubicBezTo>
                <a:lnTo>
                  <a:pt x="12192000" y="237340"/>
                </a:lnTo>
                <a:lnTo>
                  <a:pt x="12192000" y="541847"/>
                </a:lnTo>
                <a:lnTo>
                  <a:pt x="12192000" y="801174"/>
                </a:lnTo>
                <a:lnTo>
                  <a:pt x="12192000" y="809436"/>
                </a:lnTo>
                <a:lnTo>
                  <a:pt x="12192000" y="1113943"/>
                </a:lnTo>
                <a:lnTo>
                  <a:pt x="12192000" y="2519036"/>
                </a:lnTo>
                <a:lnTo>
                  <a:pt x="12192000" y="3091132"/>
                </a:lnTo>
                <a:lnTo>
                  <a:pt x="12192000" y="3224769"/>
                </a:lnTo>
                <a:lnTo>
                  <a:pt x="12192000" y="3367122"/>
                </a:lnTo>
                <a:lnTo>
                  <a:pt x="12192000" y="3796865"/>
                </a:lnTo>
                <a:lnTo>
                  <a:pt x="12192000" y="3939218"/>
                </a:lnTo>
                <a:lnTo>
                  <a:pt x="0" y="3939218"/>
                </a:lnTo>
                <a:lnTo>
                  <a:pt x="0" y="3367122"/>
                </a:lnTo>
                <a:lnTo>
                  <a:pt x="0" y="3091132"/>
                </a:lnTo>
                <a:lnTo>
                  <a:pt x="0" y="2519036"/>
                </a:lnTo>
                <a:lnTo>
                  <a:pt x="1" y="2519036"/>
                </a:lnTo>
                <a:lnTo>
                  <a:pt x="1" y="847204"/>
                </a:lnTo>
                <a:lnTo>
                  <a:pt x="1" y="275108"/>
                </a:lnTo>
                <a:lnTo>
                  <a:pt x="3" y="275108"/>
                </a:lnTo>
                <a:lnTo>
                  <a:pt x="3" y="241498"/>
                </a:lnTo>
                <a:cubicBezTo>
                  <a:pt x="169275" y="189848"/>
                  <a:pt x="267524" y="146328"/>
                  <a:pt x="375242" y="72201"/>
                </a:cubicBezTo>
                <a:cubicBezTo>
                  <a:pt x="574108" y="346712"/>
                  <a:pt x="1125131" y="314670"/>
                  <a:pt x="1411592" y="106156"/>
                </a:cubicBezTo>
                <a:cubicBezTo>
                  <a:pt x="1766710" y="304148"/>
                  <a:pt x="2233098" y="248194"/>
                  <a:pt x="2584071" y="76983"/>
                </a:cubicBezTo>
                <a:cubicBezTo>
                  <a:pt x="2584071" y="76983"/>
                  <a:pt x="2640890" y="155416"/>
                  <a:pt x="3002517" y="199892"/>
                </a:cubicBezTo>
                <a:cubicBezTo>
                  <a:pt x="3364737" y="243890"/>
                  <a:pt x="3663036" y="57375"/>
                  <a:pt x="3663036" y="57375"/>
                </a:cubicBezTo>
                <a:cubicBezTo>
                  <a:pt x="3663036" y="57375"/>
                  <a:pt x="3847696" y="165458"/>
                  <a:pt x="4195120" y="199892"/>
                </a:cubicBezTo>
                <a:cubicBezTo>
                  <a:pt x="4543135" y="233846"/>
                  <a:pt x="4940273" y="42551"/>
                  <a:pt x="4940273" y="42551"/>
                </a:cubicBezTo>
                <a:cubicBezTo>
                  <a:pt x="4940273" y="42551"/>
                  <a:pt x="5011297" y="199892"/>
                  <a:pt x="5394823" y="199892"/>
                </a:cubicBezTo>
                <a:cubicBezTo>
                  <a:pt x="5778350" y="199892"/>
                  <a:pt x="6022790" y="37768"/>
                  <a:pt x="6022790" y="37768"/>
                </a:cubicBezTo>
                <a:lnTo>
                  <a:pt x="6039003" y="34434"/>
                </a:lnTo>
                <a:cubicBezTo>
                  <a:pt x="6237870" y="308944"/>
                  <a:pt x="6788893" y="276902"/>
                  <a:pt x="7075355" y="68389"/>
                </a:cubicBezTo>
                <a:cubicBezTo>
                  <a:pt x="7430471" y="266380"/>
                  <a:pt x="7896859" y="210427"/>
                  <a:pt x="8247833" y="39215"/>
                </a:cubicBezTo>
                <a:cubicBezTo>
                  <a:pt x="8247833" y="39215"/>
                  <a:pt x="8304652" y="117648"/>
                  <a:pt x="8666278" y="162124"/>
                </a:cubicBezTo>
                <a:cubicBezTo>
                  <a:pt x="9028499" y="206122"/>
                  <a:pt x="9326797" y="19608"/>
                  <a:pt x="9326797" y="19608"/>
                </a:cubicBezTo>
                <a:cubicBezTo>
                  <a:pt x="9326797" y="19608"/>
                  <a:pt x="9511457" y="127690"/>
                  <a:pt x="9858881" y="162124"/>
                </a:cubicBezTo>
                <a:cubicBezTo>
                  <a:pt x="10206896" y="196079"/>
                  <a:pt x="10604035" y="4783"/>
                  <a:pt x="10604035" y="4783"/>
                </a:cubicBezTo>
                <a:cubicBezTo>
                  <a:pt x="10604035" y="4783"/>
                  <a:pt x="10675058" y="162124"/>
                  <a:pt x="11058584" y="162124"/>
                </a:cubicBezTo>
                <a:cubicBezTo>
                  <a:pt x="11442111" y="162124"/>
                  <a:pt x="11686551" y="0"/>
                  <a:pt x="11686551" y="0"/>
                </a:cubicBezTo>
                <a:close/>
              </a:path>
            </a:pathLst>
          </a:custGeom>
          <a:solidFill>
            <a:srgbClr val="53BD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93578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9D4652-E0A2-44BC-BF9A-3AC39F9A1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D8890D1-0EF5-4789-AAD1-8F8FB965C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0042A68-EB8D-4FB4-A44E-3FD7C2895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BBD10A-2920-4089-BF61-A23EF5094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ABF26-6AEA-453A-A056-845118393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16094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012667-43FF-46C8-9605-F3BED234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C9E5B60-E138-47DA-9BBD-6FBE16FAF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D045B90-619E-45A4-AB42-B3C0B0C4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2FFCE8-CBFE-4A78-BFF5-74BACB31E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1A30F96-7539-4EF3-9D1B-DD8EF18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063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D231C7A-110F-4A9D-9E78-AD6830858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0E32DC7-EA53-4A5C-942B-1F8B3F0C4E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70C813E-00DC-4FB6-A287-7950B24E6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7D92E5C-C823-4AD8-BCE3-1065E48B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1444E0E-99B1-4711-AF34-A53410BD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25570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E5BBBF-15D1-49FC-A511-5FE88533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372538C-DA3A-4F7B-AD90-F14653C101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E3B34B8-A26A-45A5-BC1E-EF02CF0E0E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83B0635-B989-4442-9203-22A862CC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F32666F-5499-4BE1-9599-4930B6D14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BBEC7BD-7D57-44F9-BDEF-4F38DA50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52010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FACBBB-5315-45D4-BF61-26F099C1F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515EE24-5306-4321-87D4-0230D737D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E532815-F074-4391-84BA-D63EA8DB51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FAC2155-9E3F-4DFF-A78B-8C56CABC21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77E3EF3-A991-4FF2-8569-325F06C863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4E7AB23F-407F-444D-9F96-B742BE0CB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AE00144-BA72-4A02-BA17-C2E6ABE6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56EF456-EB18-4100-9CE5-206E5B6E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21755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89BA81A8-8427-42C4-9E6E-ED379197B2B8}"/>
              </a:ext>
            </a:extLst>
          </p:cNvPr>
          <p:cNvSpPr/>
          <p:nvPr userDrawn="1"/>
        </p:nvSpPr>
        <p:spPr>
          <a:xfrm>
            <a:off x="6235700" y="0"/>
            <a:ext cx="59563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1E99322-D0AB-44C7-B68E-F9E3C0AA3452}"/>
              </a:ext>
            </a:extLst>
          </p:cNvPr>
          <p:cNvSpPr/>
          <p:nvPr userDrawn="1"/>
        </p:nvSpPr>
        <p:spPr>
          <a:xfrm>
            <a:off x="0" y="0"/>
            <a:ext cx="5956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8CBDD9E-C173-411F-8978-F4E284A954BB}"/>
              </a:ext>
            </a:extLst>
          </p:cNvPr>
          <p:cNvSpPr/>
          <p:nvPr userDrawn="1"/>
        </p:nvSpPr>
        <p:spPr>
          <a:xfrm>
            <a:off x="188687" y="182789"/>
            <a:ext cx="11814627" cy="65386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D37813-2CF6-441F-809E-B375EE2AF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3473419-2BA8-44AC-AB0F-A12C1E0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BAAF00F-9D11-455E-8B7E-2B9C64B5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3268E1D-CC3A-4BD0-80F7-458BCAA4B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B9F6BE6-1FB5-4588-8F14-A58CF75A9AF3}"/>
              </a:ext>
            </a:extLst>
          </p:cNvPr>
          <p:cNvSpPr/>
          <p:nvPr userDrawn="1"/>
        </p:nvSpPr>
        <p:spPr>
          <a:xfrm>
            <a:off x="10160000" y="6286500"/>
            <a:ext cx="1676400" cy="571500"/>
          </a:xfrm>
          <a:prstGeom prst="rect">
            <a:avLst/>
          </a:prstGeom>
          <a:pattFill prst="wdDn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62109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=""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21" name="think-cell Slide" r:id="rId8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51C34D6F-D0F4-4534-8C4A-5CB0647CBE1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xmlns="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7C24B0B4-6BDD-4B6C-8DC4-CE6A74225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D6AC650-2510-484B-B679-3E8846CA9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D0EA47C-4C58-46CA-9AD3-2A2A5400A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DD2E-AF6E-47DC-890C-D2B624409947}" type="datetimeFigureOut">
              <a:rPr lang="en-US" smtClean="0"/>
              <a:pPr/>
              <a:t>1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C5BE471-1F60-4329-9C09-8DFF815D8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55A945C-24D5-4E34-899B-D418CD7CDB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D9215-59B7-401D-9643-4AE8D59C09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2712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1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1100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8" y="17358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4" name="Group 13"/>
          <p:cNvGrpSpPr/>
          <p:nvPr userDrawn="1"/>
        </p:nvGrpSpPr>
        <p:grpSpPr>
          <a:xfrm>
            <a:off x="-1654908" y="-16654"/>
            <a:ext cx="1569183" cy="612144"/>
            <a:chOff x="-2096383" y="21447"/>
            <a:chExt cx="1569183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2055134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11" Type="http://schemas.openxmlformats.org/officeDocument/2006/relationships/image" Target="../media/image6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12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jpeg"/><Relationship Id="rId11" Type="http://schemas.openxmlformats.org/officeDocument/2006/relationships/image" Target="../media/image25.pn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png"/><Relationship Id="rId7" Type="http://schemas.openxmlformats.org/officeDocument/2006/relationships/image" Target="../media/image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xmlns="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xmlns="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xmlns="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:a16="http://schemas.microsoft.com/office/drawing/2014/main" xmlns="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402" name="think-cell Slide" r:id="rId7" imgW="360" imgH="360" progId="">
              <p:embed/>
            </p:oleObj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xmlns="" id="{B018D872-74EC-4C12-835A-5F484647A850}"/>
              </a:ext>
            </a:extLst>
          </p:cNvPr>
          <p:cNvSpPr/>
          <p:nvPr/>
        </p:nvSpPr>
        <p:spPr>
          <a:xfrm>
            <a:off x="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xmlns="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52" y="248361"/>
            <a:ext cx="1905000" cy="1905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84571" y="4916384"/>
            <a:ext cx="3550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303657" y="5050971"/>
            <a:ext cx="2641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PRESENTED BY :-</a:t>
            </a:r>
            <a:endParaRPr lang="en-US" dirty="0" smtClean="0"/>
          </a:p>
          <a:p>
            <a:pPr algn="ctr"/>
            <a:r>
              <a:rPr lang="en-IN" dirty="0" smtClean="0"/>
              <a:t>ASHWITHA</a:t>
            </a:r>
          </a:p>
          <a:p>
            <a:pPr algn="ctr"/>
            <a:r>
              <a:rPr lang="en-IN" dirty="0" smtClean="0"/>
              <a:t>RAHUL</a:t>
            </a:r>
          </a:p>
          <a:p>
            <a:pPr algn="ctr"/>
            <a:r>
              <a:rPr lang="en-IN" dirty="0" smtClean="0"/>
              <a:t>RAKSHIT H</a:t>
            </a:r>
          </a:p>
          <a:p>
            <a:pPr algn="ctr"/>
            <a:r>
              <a:rPr lang="en-IN" dirty="0" smtClean="0"/>
              <a:t>SAHANA</a:t>
            </a:r>
          </a:p>
          <a:p>
            <a:pPr algn="ctr"/>
            <a:r>
              <a:rPr lang="en-IN" dirty="0" smtClean="0"/>
              <a:t>SUPRITA</a:t>
            </a:r>
          </a:p>
        </p:txBody>
      </p:sp>
    </p:spTree>
    <p:extLst>
      <p:ext uri="{BB962C8B-B14F-4D97-AF65-F5344CB8AC3E}">
        <p14:creationId xmlns="" xmlns:p14="http://schemas.microsoft.com/office/powerpoint/2010/main" val="223546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xmlns="" id="{8B6688E9-D0FA-4BB4-B45B-7712627B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5921" r="622" b="1572"/>
          <a:stretch/>
        </p:blipFill>
        <p:spPr>
          <a:xfrm>
            <a:off x="0" y="0"/>
            <a:ext cx="6124860" cy="6340446"/>
          </a:xfrm>
          <a:custGeom>
            <a:avLst/>
            <a:gdLst>
              <a:gd name="connsiteX0" fmla="*/ 0 w 6124860"/>
              <a:gd name="connsiteY0" fmla="*/ 0 h 6340446"/>
              <a:gd name="connsiteX1" fmla="*/ 5880099 w 6124860"/>
              <a:gd name="connsiteY1" fmla="*/ 0 h 6340446"/>
              <a:gd name="connsiteX2" fmla="*/ 4317999 w 6124860"/>
              <a:gd name="connsiteY2" fmla="*/ 4038600 h 6340446"/>
              <a:gd name="connsiteX3" fmla="*/ 97811 w 6124860"/>
              <a:gd name="connsiteY3" fmla="*/ 5967428 h 6340446"/>
              <a:gd name="connsiteX4" fmla="*/ 0 w 6124860"/>
              <a:gd name="connsiteY4" fmla="*/ 5880101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0" h="6340446">
                <a:moveTo>
                  <a:pt x="0" y="0"/>
                </a:moveTo>
                <a:lnTo>
                  <a:pt x="5880099" y="0"/>
                </a:lnTo>
                <a:cubicBezTo>
                  <a:pt x="6860116" y="980017"/>
                  <a:pt x="4599516" y="1788583"/>
                  <a:pt x="4317999" y="4038600"/>
                </a:cubicBezTo>
                <a:cubicBezTo>
                  <a:pt x="4045280" y="6218304"/>
                  <a:pt x="1168335" y="6822759"/>
                  <a:pt x="97811" y="5967428"/>
                </a:cubicBezTo>
                <a:lnTo>
                  <a:pt x="0" y="5880101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7C7A0B5-BFB5-4409-BD0B-0255B9069DDE}"/>
              </a:ext>
            </a:extLst>
          </p:cNvPr>
          <p:cNvSpPr txBox="1"/>
          <p:nvPr/>
        </p:nvSpPr>
        <p:spPr>
          <a:xfrm>
            <a:off x="5845517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THANK YOU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1934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838200" y="163481"/>
            <a:ext cx="10515600" cy="7390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lgerian" pitchFamily="82" charset="0"/>
                <a:ea typeface="+mj-ea"/>
                <a:cs typeface="+mj-cs"/>
              </a:rPr>
              <a:t>                         OBJECTIVE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lgerian" pitchFamily="82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7A37DE5-15F8-4A66-BC61-A378C7F6C73B}"/>
              </a:ext>
            </a:extLst>
          </p:cNvPr>
          <p:cNvSpPr txBox="1"/>
          <p:nvPr/>
        </p:nvSpPr>
        <p:spPr>
          <a:xfrm>
            <a:off x="6391608" y="828003"/>
            <a:ext cx="5356125" cy="52320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endParaRPr lang="en-US" sz="2800" b="1" cap="all" noProof="1">
              <a:ea typeface="Kozuka Gothic Pro EL" panose="020B0200000000000000" pitchFamily="34" charset="-128"/>
              <a:cs typeface="Lato Regular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A24B0AA-68E3-480E-BDEC-C38297401A06}"/>
              </a:ext>
            </a:extLst>
          </p:cNvPr>
          <p:cNvSpPr txBox="1"/>
          <p:nvPr/>
        </p:nvSpPr>
        <p:spPr>
          <a:xfrm>
            <a:off x="6835875" y="3554819"/>
            <a:ext cx="5356125" cy="830979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      Confident in all the concepts and </a:t>
            </a:r>
          </a:p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      become a successful product engineer</a:t>
            </a:r>
            <a:endParaRPr lang="en-US" sz="2000" noProof="1">
              <a:solidFill>
                <a:schemeClr val="tx1">
                  <a:lumMod val="65000"/>
                  <a:lumOff val="35000"/>
                </a:schemeClr>
              </a:solidFill>
              <a:cs typeface="Lato Light"/>
            </a:endParaRPr>
          </a:p>
        </p:txBody>
      </p:sp>
      <p:sp>
        <p:nvSpPr>
          <p:cNvPr id="18" name="Oval">
            <a:extLst>
              <a:ext uri="{FF2B5EF4-FFF2-40B4-BE49-F238E27FC236}">
                <a16:creationId xmlns="" xmlns:a16="http://schemas.microsoft.com/office/drawing/2014/main" id="{F4FA5ECF-BBC1-4FB8-BF49-BE65415FFC38}"/>
              </a:ext>
            </a:extLst>
          </p:cNvPr>
          <p:cNvSpPr/>
          <p:nvPr/>
        </p:nvSpPr>
        <p:spPr>
          <a:xfrm>
            <a:off x="235857" y="5718692"/>
            <a:ext cx="3310155" cy="467125"/>
          </a:xfrm>
          <a:prstGeom prst="ellipse">
            <a:avLst/>
          </a:prstGeom>
          <a:gradFill flip="none" rotWithShape="1">
            <a:gsLst>
              <a:gs pos="41000">
                <a:srgbClr val="EEEEEE">
                  <a:alpha val="64000"/>
                </a:srgbClr>
              </a:gs>
              <a:gs pos="0">
                <a:schemeClr val="accent3">
                  <a:lumMod val="5000"/>
                  <a:lumOff val="95000"/>
                  <a:alpha val="0"/>
                </a:schemeClr>
              </a:gs>
              <a:gs pos="74000">
                <a:schemeClr val="bg1">
                  <a:lumMod val="75000"/>
                </a:schemeClr>
              </a:gs>
              <a:gs pos="83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19" name="Shape">
            <a:extLst>
              <a:ext uri="{FF2B5EF4-FFF2-40B4-BE49-F238E27FC236}">
                <a16:creationId xmlns="" xmlns:a16="http://schemas.microsoft.com/office/drawing/2014/main" id="{3D391987-71A8-4F75-95D2-DE0105B6AC81}"/>
              </a:ext>
            </a:extLst>
          </p:cNvPr>
          <p:cNvSpPr/>
          <p:nvPr/>
        </p:nvSpPr>
        <p:spPr>
          <a:xfrm>
            <a:off x="1535763" y="2435402"/>
            <a:ext cx="2131046" cy="2993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9" h="21445" extrusionOk="0">
                <a:moveTo>
                  <a:pt x="7165" y="276"/>
                </a:moveTo>
                <a:cubicBezTo>
                  <a:pt x="8496" y="592"/>
                  <a:pt x="9852" y="1160"/>
                  <a:pt x="11166" y="1908"/>
                </a:cubicBezTo>
                <a:cubicBezTo>
                  <a:pt x="12462" y="2644"/>
                  <a:pt x="13726" y="3563"/>
                  <a:pt x="14896" y="4606"/>
                </a:cubicBezTo>
                <a:cubicBezTo>
                  <a:pt x="16058" y="5639"/>
                  <a:pt x="17135" y="6799"/>
                  <a:pt x="18068" y="8033"/>
                </a:cubicBezTo>
                <a:cubicBezTo>
                  <a:pt x="19002" y="9268"/>
                  <a:pt x="19796" y="10584"/>
                  <a:pt x="20392" y="11936"/>
                </a:cubicBezTo>
                <a:cubicBezTo>
                  <a:pt x="20992" y="13297"/>
                  <a:pt x="21334" y="14573"/>
                  <a:pt x="21435" y="15721"/>
                </a:cubicBezTo>
                <a:cubicBezTo>
                  <a:pt x="21541" y="16887"/>
                  <a:pt x="21402" y="17926"/>
                  <a:pt x="21030" y="18791"/>
                </a:cubicBezTo>
                <a:cubicBezTo>
                  <a:pt x="20650" y="19671"/>
                  <a:pt x="20029" y="20371"/>
                  <a:pt x="19184" y="20831"/>
                </a:cubicBezTo>
                <a:cubicBezTo>
                  <a:pt x="18318" y="21300"/>
                  <a:pt x="17211" y="21519"/>
                  <a:pt x="15884" y="21423"/>
                </a:cubicBezTo>
                <a:cubicBezTo>
                  <a:pt x="14524" y="21324"/>
                  <a:pt x="13071" y="20900"/>
                  <a:pt x="11605" y="20215"/>
                </a:cubicBezTo>
                <a:cubicBezTo>
                  <a:pt x="10114" y="19518"/>
                  <a:pt x="8622" y="18557"/>
                  <a:pt x="7220" y="17397"/>
                </a:cubicBezTo>
                <a:cubicBezTo>
                  <a:pt x="5805" y="16226"/>
                  <a:pt x="4495" y="14865"/>
                  <a:pt x="3384" y="13393"/>
                </a:cubicBezTo>
                <a:cubicBezTo>
                  <a:pt x="2273" y="11921"/>
                  <a:pt x="1373" y="10349"/>
                  <a:pt x="773" y="8763"/>
                </a:cubicBezTo>
                <a:cubicBezTo>
                  <a:pt x="178" y="7195"/>
                  <a:pt x="-59" y="5774"/>
                  <a:pt x="13" y="4557"/>
                </a:cubicBezTo>
                <a:cubicBezTo>
                  <a:pt x="85" y="3362"/>
                  <a:pt x="452" y="2364"/>
                  <a:pt x="1077" y="1613"/>
                </a:cubicBezTo>
                <a:cubicBezTo>
                  <a:pt x="1686" y="877"/>
                  <a:pt x="2535" y="379"/>
                  <a:pt x="3583" y="147"/>
                </a:cubicBezTo>
                <a:cubicBezTo>
                  <a:pt x="4596" y="-81"/>
                  <a:pt x="5809" y="-48"/>
                  <a:pt x="7165" y="276"/>
                </a:cubicBezTo>
                <a:close/>
              </a:path>
            </a:pathLst>
          </a:custGeom>
          <a:gradFill flip="none" rotWithShape="1">
            <a:gsLst>
              <a:gs pos="0">
                <a:srgbClr val="B3B3B3"/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0" name="Shape">
            <a:extLst>
              <a:ext uri="{FF2B5EF4-FFF2-40B4-BE49-F238E27FC236}">
                <a16:creationId xmlns="" xmlns:a16="http://schemas.microsoft.com/office/drawing/2014/main" id="{ED6BED2A-1FAF-4CB0-B417-EFFE24C711FC}"/>
              </a:ext>
            </a:extLst>
          </p:cNvPr>
          <p:cNvSpPr/>
          <p:nvPr/>
        </p:nvSpPr>
        <p:spPr>
          <a:xfrm>
            <a:off x="1005054" y="2523484"/>
            <a:ext cx="2305454" cy="3162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77" y="19856"/>
                </a:moveTo>
                <a:cubicBezTo>
                  <a:pt x="21066" y="19859"/>
                  <a:pt x="21058" y="19862"/>
                  <a:pt x="21046" y="19862"/>
                </a:cubicBezTo>
                <a:cubicBezTo>
                  <a:pt x="20869" y="19899"/>
                  <a:pt x="20685" y="19931"/>
                  <a:pt x="20496" y="19951"/>
                </a:cubicBezTo>
                <a:cubicBezTo>
                  <a:pt x="20492" y="19951"/>
                  <a:pt x="20488" y="19951"/>
                  <a:pt x="20484" y="19953"/>
                </a:cubicBezTo>
                <a:cubicBezTo>
                  <a:pt x="20300" y="19973"/>
                  <a:pt x="20111" y="19985"/>
                  <a:pt x="19915" y="19988"/>
                </a:cubicBezTo>
                <a:cubicBezTo>
                  <a:pt x="19891" y="19988"/>
                  <a:pt x="19871" y="19991"/>
                  <a:pt x="19848" y="19991"/>
                </a:cubicBezTo>
                <a:cubicBezTo>
                  <a:pt x="19640" y="19994"/>
                  <a:pt x="19427" y="19988"/>
                  <a:pt x="19207" y="19971"/>
                </a:cubicBezTo>
                <a:cubicBezTo>
                  <a:pt x="19058" y="19959"/>
                  <a:pt x="18905" y="19942"/>
                  <a:pt x="18752" y="19922"/>
                </a:cubicBezTo>
                <a:cubicBezTo>
                  <a:pt x="18740" y="19922"/>
                  <a:pt x="18732" y="19919"/>
                  <a:pt x="18720" y="19919"/>
                </a:cubicBezTo>
                <a:cubicBezTo>
                  <a:pt x="18575" y="19899"/>
                  <a:pt x="18426" y="19876"/>
                  <a:pt x="18276" y="19847"/>
                </a:cubicBezTo>
                <a:cubicBezTo>
                  <a:pt x="18261" y="19845"/>
                  <a:pt x="18241" y="19842"/>
                  <a:pt x="18225" y="19839"/>
                </a:cubicBezTo>
                <a:cubicBezTo>
                  <a:pt x="18084" y="19813"/>
                  <a:pt x="17942" y="19782"/>
                  <a:pt x="17797" y="19747"/>
                </a:cubicBezTo>
                <a:cubicBezTo>
                  <a:pt x="17766" y="19739"/>
                  <a:pt x="17730" y="19730"/>
                  <a:pt x="17699" y="19724"/>
                </a:cubicBezTo>
                <a:cubicBezTo>
                  <a:pt x="17553" y="19690"/>
                  <a:pt x="17412" y="19650"/>
                  <a:pt x="17267" y="19610"/>
                </a:cubicBezTo>
                <a:cubicBezTo>
                  <a:pt x="17251" y="19604"/>
                  <a:pt x="17235" y="19601"/>
                  <a:pt x="17223" y="19595"/>
                </a:cubicBezTo>
                <a:cubicBezTo>
                  <a:pt x="17086" y="19555"/>
                  <a:pt x="16952" y="19512"/>
                  <a:pt x="16815" y="19467"/>
                </a:cubicBezTo>
                <a:cubicBezTo>
                  <a:pt x="16783" y="19455"/>
                  <a:pt x="16752" y="19447"/>
                  <a:pt x="16721" y="19435"/>
                </a:cubicBezTo>
                <a:cubicBezTo>
                  <a:pt x="16575" y="19386"/>
                  <a:pt x="16430" y="19332"/>
                  <a:pt x="16284" y="19278"/>
                </a:cubicBezTo>
                <a:cubicBezTo>
                  <a:pt x="16253" y="19266"/>
                  <a:pt x="16222" y="19255"/>
                  <a:pt x="16194" y="19240"/>
                </a:cubicBezTo>
                <a:cubicBezTo>
                  <a:pt x="16057" y="19186"/>
                  <a:pt x="15919" y="19132"/>
                  <a:pt x="15782" y="19071"/>
                </a:cubicBezTo>
                <a:cubicBezTo>
                  <a:pt x="15762" y="19063"/>
                  <a:pt x="15746" y="19057"/>
                  <a:pt x="15727" y="19049"/>
                </a:cubicBezTo>
                <a:cubicBezTo>
                  <a:pt x="15577" y="18983"/>
                  <a:pt x="15428" y="18914"/>
                  <a:pt x="15279" y="18842"/>
                </a:cubicBezTo>
                <a:cubicBezTo>
                  <a:pt x="15243" y="18825"/>
                  <a:pt x="15204" y="18808"/>
                  <a:pt x="15169" y="18791"/>
                </a:cubicBezTo>
                <a:cubicBezTo>
                  <a:pt x="15031" y="18725"/>
                  <a:pt x="14894" y="18656"/>
                  <a:pt x="14756" y="18585"/>
                </a:cubicBezTo>
                <a:cubicBezTo>
                  <a:pt x="14737" y="18576"/>
                  <a:pt x="14717" y="18565"/>
                  <a:pt x="14701" y="18556"/>
                </a:cubicBezTo>
                <a:cubicBezTo>
                  <a:pt x="14552" y="18479"/>
                  <a:pt x="14403" y="18396"/>
                  <a:pt x="14253" y="18313"/>
                </a:cubicBezTo>
                <a:cubicBezTo>
                  <a:pt x="14202" y="18284"/>
                  <a:pt x="14147" y="18253"/>
                  <a:pt x="14096" y="18221"/>
                </a:cubicBezTo>
                <a:cubicBezTo>
                  <a:pt x="13990" y="18158"/>
                  <a:pt x="13880" y="18095"/>
                  <a:pt x="13774" y="18029"/>
                </a:cubicBezTo>
                <a:cubicBezTo>
                  <a:pt x="13719" y="17998"/>
                  <a:pt x="13668" y="17963"/>
                  <a:pt x="13613" y="17932"/>
                </a:cubicBezTo>
                <a:cubicBezTo>
                  <a:pt x="13495" y="17857"/>
                  <a:pt x="13373" y="17780"/>
                  <a:pt x="13255" y="17703"/>
                </a:cubicBezTo>
                <a:cubicBezTo>
                  <a:pt x="13216" y="17677"/>
                  <a:pt x="13181" y="17654"/>
                  <a:pt x="13141" y="17631"/>
                </a:cubicBezTo>
                <a:cubicBezTo>
                  <a:pt x="12992" y="17531"/>
                  <a:pt x="12839" y="17428"/>
                  <a:pt x="12690" y="17325"/>
                </a:cubicBezTo>
                <a:cubicBezTo>
                  <a:pt x="12493" y="17187"/>
                  <a:pt x="12301" y="17047"/>
                  <a:pt x="12108" y="16904"/>
                </a:cubicBezTo>
                <a:cubicBezTo>
                  <a:pt x="12065" y="16869"/>
                  <a:pt x="12022" y="16835"/>
                  <a:pt x="11975" y="16801"/>
                </a:cubicBezTo>
                <a:cubicBezTo>
                  <a:pt x="11825" y="16686"/>
                  <a:pt x="11680" y="16572"/>
                  <a:pt x="11535" y="16454"/>
                </a:cubicBezTo>
                <a:cubicBezTo>
                  <a:pt x="11472" y="16403"/>
                  <a:pt x="11405" y="16348"/>
                  <a:pt x="11342" y="16297"/>
                </a:cubicBezTo>
                <a:cubicBezTo>
                  <a:pt x="11212" y="16191"/>
                  <a:pt x="11087" y="16082"/>
                  <a:pt x="10961" y="15973"/>
                </a:cubicBezTo>
                <a:cubicBezTo>
                  <a:pt x="10898" y="15919"/>
                  <a:pt x="10831" y="15861"/>
                  <a:pt x="10769" y="15804"/>
                </a:cubicBezTo>
                <a:cubicBezTo>
                  <a:pt x="10627" y="15678"/>
                  <a:pt x="10490" y="15552"/>
                  <a:pt x="10352" y="15423"/>
                </a:cubicBezTo>
                <a:cubicBezTo>
                  <a:pt x="10309" y="15383"/>
                  <a:pt x="10266" y="15346"/>
                  <a:pt x="10226" y="15306"/>
                </a:cubicBezTo>
                <a:cubicBezTo>
                  <a:pt x="10006" y="15097"/>
                  <a:pt x="9786" y="14879"/>
                  <a:pt x="9574" y="14659"/>
                </a:cubicBezTo>
                <a:cubicBezTo>
                  <a:pt x="9527" y="14610"/>
                  <a:pt x="9484" y="14564"/>
                  <a:pt x="9437" y="14516"/>
                </a:cubicBezTo>
                <a:cubicBezTo>
                  <a:pt x="9221" y="14292"/>
                  <a:pt x="9012" y="14063"/>
                  <a:pt x="8804" y="13831"/>
                </a:cubicBezTo>
                <a:cubicBezTo>
                  <a:pt x="8792" y="13817"/>
                  <a:pt x="8777" y="13800"/>
                  <a:pt x="8765" y="13785"/>
                </a:cubicBezTo>
                <a:cubicBezTo>
                  <a:pt x="8568" y="13562"/>
                  <a:pt x="8380" y="13336"/>
                  <a:pt x="8195" y="13104"/>
                </a:cubicBezTo>
                <a:cubicBezTo>
                  <a:pt x="8156" y="13055"/>
                  <a:pt x="8117" y="13006"/>
                  <a:pt x="8077" y="12958"/>
                </a:cubicBezTo>
                <a:cubicBezTo>
                  <a:pt x="7889" y="12720"/>
                  <a:pt x="7704" y="12480"/>
                  <a:pt x="7527" y="12233"/>
                </a:cubicBezTo>
                <a:cubicBezTo>
                  <a:pt x="7480" y="12170"/>
                  <a:pt x="7437" y="12107"/>
                  <a:pt x="7390" y="12041"/>
                </a:cubicBezTo>
                <a:cubicBezTo>
                  <a:pt x="7296" y="11913"/>
                  <a:pt x="7205" y="11781"/>
                  <a:pt x="7115" y="11649"/>
                </a:cubicBezTo>
                <a:cubicBezTo>
                  <a:pt x="7064" y="11575"/>
                  <a:pt x="7017" y="11500"/>
                  <a:pt x="6966" y="11429"/>
                </a:cubicBezTo>
                <a:cubicBezTo>
                  <a:pt x="6879" y="11297"/>
                  <a:pt x="6797" y="11165"/>
                  <a:pt x="6714" y="11033"/>
                </a:cubicBezTo>
                <a:cubicBezTo>
                  <a:pt x="6671" y="10962"/>
                  <a:pt x="6624" y="10890"/>
                  <a:pt x="6581" y="10819"/>
                </a:cubicBezTo>
                <a:cubicBezTo>
                  <a:pt x="6490" y="10673"/>
                  <a:pt x="6404" y="10524"/>
                  <a:pt x="6321" y="10375"/>
                </a:cubicBezTo>
                <a:cubicBezTo>
                  <a:pt x="6290" y="10318"/>
                  <a:pt x="6254" y="10263"/>
                  <a:pt x="6223" y="10206"/>
                </a:cubicBezTo>
                <a:cubicBezTo>
                  <a:pt x="6109" y="10000"/>
                  <a:pt x="5999" y="9793"/>
                  <a:pt x="5893" y="9584"/>
                </a:cubicBezTo>
                <a:cubicBezTo>
                  <a:pt x="5811" y="9421"/>
                  <a:pt x="5732" y="9255"/>
                  <a:pt x="5653" y="9092"/>
                </a:cubicBezTo>
                <a:cubicBezTo>
                  <a:pt x="5630" y="9043"/>
                  <a:pt x="5610" y="8995"/>
                  <a:pt x="5587" y="8943"/>
                </a:cubicBezTo>
                <a:cubicBezTo>
                  <a:pt x="5532" y="8817"/>
                  <a:pt x="5477" y="8694"/>
                  <a:pt x="5422" y="8568"/>
                </a:cubicBezTo>
                <a:cubicBezTo>
                  <a:pt x="5402" y="8516"/>
                  <a:pt x="5378" y="8468"/>
                  <a:pt x="5359" y="8416"/>
                </a:cubicBezTo>
                <a:cubicBezTo>
                  <a:pt x="5288" y="8247"/>
                  <a:pt x="5221" y="8078"/>
                  <a:pt x="5158" y="7909"/>
                </a:cubicBezTo>
                <a:cubicBezTo>
                  <a:pt x="5068" y="7663"/>
                  <a:pt x="4986" y="7417"/>
                  <a:pt x="4911" y="7179"/>
                </a:cubicBezTo>
                <a:cubicBezTo>
                  <a:pt x="4911" y="7176"/>
                  <a:pt x="4911" y="7173"/>
                  <a:pt x="4907" y="7170"/>
                </a:cubicBezTo>
                <a:cubicBezTo>
                  <a:pt x="4832" y="6933"/>
                  <a:pt x="4769" y="6698"/>
                  <a:pt x="4714" y="6466"/>
                </a:cubicBezTo>
                <a:cubicBezTo>
                  <a:pt x="4714" y="6460"/>
                  <a:pt x="4711" y="6452"/>
                  <a:pt x="4711" y="6446"/>
                </a:cubicBezTo>
                <a:cubicBezTo>
                  <a:pt x="4655" y="6225"/>
                  <a:pt x="4612" y="6008"/>
                  <a:pt x="4577" y="5796"/>
                </a:cubicBezTo>
                <a:cubicBezTo>
                  <a:pt x="4573" y="5779"/>
                  <a:pt x="4573" y="5762"/>
                  <a:pt x="4569" y="5741"/>
                </a:cubicBezTo>
                <a:cubicBezTo>
                  <a:pt x="4534" y="5541"/>
                  <a:pt x="4506" y="5341"/>
                  <a:pt x="4487" y="5149"/>
                </a:cubicBezTo>
                <a:cubicBezTo>
                  <a:pt x="4483" y="5126"/>
                  <a:pt x="4483" y="5103"/>
                  <a:pt x="4479" y="5080"/>
                </a:cubicBezTo>
                <a:cubicBezTo>
                  <a:pt x="4459" y="4894"/>
                  <a:pt x="4447" y="4711"/>
                  <a:pt x="4443" y="4530"/>
                </a:cubicBezTo>
                <a:cubicBezTo>
                  <a:pt x="4443" y="4507"/>
                  <a:pt x="4443" y="4484"/>
                  <a:pt x="4443" y="4461"/>
                </a:cubicBezTo>
                <a:cubicBezTo>
                  <a:pt x="4439" y="4284"/>
                  <a:pt x="4443" y="4112"/>
                  <a:pt x="4451" y="3946"/>
                </a:cubicBezTo>
                <a:cubicBezTo>
                  <a:pt x="4451" y="3920"/>
                  <a:pt x="4455" y="3897"/>
                  <a:pt x="4455" y="3872"/>
                </a:cubicBezTo>
                <a:cubicBezTo>
                  <a:pt x="4467" y="3705"/>
                  <a:pt x="4483" y="3542"/>
                  <a:pt x="4502" y="3382"/>
                </a:cubicBezTo>
                <a:cubicBezTo>
                  <a:pt x="4506" y="3359"/>
                  <a:pt x="4510" y="3333"/>
                  <a:pt x="4514" y="3310"/>
                </a:cubicBezTo>
                <a:cubicBezTo>
                  <a:pt x="4538" y="3156"/>
                  <a:pt x="4565" y="3007"/>
                  <a:pt x="4601" y="2861"/>
                </a:cubicBezTo>
                <a:cubicBezTo>
                  <a:pt x="4608" y="2829"/>
                  <a:pt x="4616" y="2795"/>
                  <a:pt x="4624" y="2763"/>
                </a:cubicBezTo>
                <a:cubicBezTo>
                  <a:pt x="4663" y="2617"/>
                  <a:pt x="4703" y="2471"/>
                  <a:pt x="4754" y="2334"/>
                </a:cubicBezTo>
                <a:cubicBezTo>
                  <a:pt x="4754" y="2334"/>
                  <a:pt x="4754" y="2331"/>
                  <a:pt x="4754" y="2331"/>
                </a:cubicBezTo>
                <a:cubicBezTo>
                  <a:pt x="4805" y="2193"/>
                  <a:pt x="4860" y="2059"/>
                  <a:pt x="4923" y="1930"/>
                </a:cubicBezTo>
                <a:cubicBezTo>
                  <a:pt x="4934" y="1901"/>
                  <a:pt x="4950" y="1873"/>
                  <a:pt x="4962" y="1847"/>
                </a:cubicBezTo>
                <a:cubicBezTo>
                  <a:pt x="5025" y="1718"/>
                  <a:pt x="5096" y="1592"/>
                  <a:pt x="5170" y="1475"/>
                </a:cubicBezTo>
                <a:cubicBezTo>
                  <a:pt x="5174" y="1466"/>
                  <a:pt x="5182" y="1460"/>
                  <a:pt x="5186" y="1452"/>
                </a:cubicBezTo>
                <a:cubicBezTo>
                  <a:pt x="5257" y="1343"/>
                  <a:pt x="5331" y="1240"/>
                  <a:pt x="5410" y="1137"/>
                </a:cubicBezTo>
                <a:cubicBezTo>
                  <a:pt x="5433" y="1105"/>
                  <a:pt x="5457" y="1077"/>
                  <a:pt x="5484" y="1048"/>
                </a:cubicBezTo>
                <a:cubicBezTo>
                  <a:pt x="5555" y="965"/>
                  <a:pt x="5626" y="888"/>
                  <a:pt x="5701" y="810"/>
                </a:cubicBezTo>
                <a:cubicBezTo>
                  <a:pt x="5720" y="790"/>
                  <a:pt x="5740" y="767"/>
                  <a:pt x="5763" y="747"/>
                </a:cubicBezTo>
                <a:cubicBezTo>
                  <a:pt x="5858" y="656"/>
                  <a:pt x="5960" y="567"/>
                  <a:pt x="6066" y="487"/>
                </a:cubicBezTo>
                <a:cubicBezTo>
                  <a:pt x="6089" y="467"/>
                  <a:pt x="6117" y="450"/>
                  <a:pt x="6141" y="432"/>
                </a:cubicBezTo>
                <a:cubicBezTo>
                  <a:pt x="6227" y="369"/>
                  <a:pt x="6313" y="309"/>
                  <a:pt x="6408" y="252"/>
                </a:cubicBezTo>
                <a:cubicBezTo>
                  <a:pt x="6439" y="232"/>
                  <a:pt x="6471" y="212"/>
                  <a:pt x="6506" y="192"/>
                </a:cubicBezTo>
                <a:cubicBezTo>
                  <a:pt x="6624" y="123"/>
                  <a:pt x="6746" y="57"/>
                  <a:pt x="6871" y="0"/>
                </a:cubicBezTo>
                <a:lnTo>
                  <a:pt x="2620" y="1939"/>
                </a:lnTo>
                <a:cubicBezTo>
                  <a:pt x="2491" y="1999"/>
                  <a:pt x="2365" y="2065"/>
                  <a:pt x="2243" y="2136"/>
                </a:cubicBezTo>
                <a:cubicBezTo>
                  <a:pt x="2208" y="2156"/>
                  <a:pt x="2177" y="2176"/>
                  <a:pt x="2141" y="2196"/>
                </a:cubicBezTo>
                <a:cubicBezTo>
                  <a:pt x="2102" y="2219"/>
                  <a:pt x="2063" y="2242"/>
                  <a:pt x="2023" y="2265"/>
                </a:cubicBezTo>
                <a:cubicBezTo>
                  <a:pt x="1968" y="2302"/>
                  <a:pt x="1917" y="2342"/>
                  <a:pt x="1862" y="2380"/>
                </a:cubicBezTo>
                <a:cubicBezTo>
                  <a:pt x="1835" y="2400"/>
                  <a:pt x="1807" y="2417"/>
                  <a:pt x="1784" y="2437"/>
                </a:cubicBezTo>
                <a:cubicBezTo>
                  <a:pt x="1685" y="2514"/>
                  <a:pt x="1587" y="2592"/>
                  <a:pt x="1493" y="2677"/>
                </a:cubicBezTo>
                <a:cubicBezTo>
                  <a:pt x="1485" y="2686"/>
                  <a:pt x="1477" y="2695"/>
                  <a:pt x="1465" y="2703"/>
                </a:cubicBezTo>
                <a:cubicBezTo>
                  <a:pt x="1442" y="2723"/>
                  <a:pt x="1422" y="2746"/>
                  <a:pt x="1399" y="2769"/>
                </a:cubicBezTo>
                <a:cubicBezTo>
                  <a:pt x="1320" y="2846"/>
                  <a:pt x="1241" y="2927"/>
                  <a:pt x="1171" y="3010"/>
                </a:cubicBezTo>
                <a:cubicBezTo>
                  <a:pt x="1155" y="3027"/>
                  <a:pt x="1139" y="3041"/>
                  <a:pt x="1124" y="3058"/>
                </a:cubicBezTo>
                <a:cubicBezTo>
                  <a:pt x="1112" y="3073"/>
                  <a:pt x="1104" y="3087"/>
                  <a:pt x="1092" y="3101"/>
                </a:cubicBezTo>
                <a:cubicBezTo>
                  <a:pt x="1073" y="3124"/>
                  <a:pt x="1053" y="3147"/>
                  <a:pt x="1033" y="3170"/>
                </a:cubicBezTo>
                <a:cubicBezTo>
                  <a:pt x="970" y="3250"/>
                  <a:pt x="911" y="3330"/>
                  <a:pt x="856" y="3416"/>
                </a:cubicBezTo>
                <a:cubicBezTo>
                  <a:pt x="853" y="3425"/>
                  <a:pt x="845" y="3433"/>
                  <a:pt x="841" y="3439"/>
                </a:cubicBezTo>
                <a:cubicBezTo>
                  <a:pt x="774" y="3537"/>
                  <a:pt x="715" y="3637"/>
                  <a:pt x="656" y="3740"/>
                </a:cubicBezTo>
                <a:cubicBezTo>
                  <a:pt x="644" y="3766"/>
                  <a:pt x="633" y="3791"/>
                  <a:pt x="617" y="3814"/>
                </a:cubicBezTo>
                <a:cubicBezTo>
                  <a:pt x="601" y="3843"/>
                  <a:pt x="589" y="3869"/>
                  <a:pt x="574" y="3897"/>
                </a:cubicBezTo>
                <a:cubicBezTo>
                  <a:pt x="554" y="3935"/>
                  <a:pt x="534" y="3972"/>
                  <a:pt x="515" y="4012"/>
                </a:cubicBezTo>
                <a:cubicBezTo>
                  <a:pt x="471" y="4106"/>
                  <a:pt x="428" y="4201"/>
                  <a:pt x="389" y="4298"/>
                </a:cubicBezTo>
                <a:cubicBezTo>
                  <a:pt x="389" y="4298"/>
                  <a:pt x="389" y="4298"/>
                  <a:pt x="389" y="4298"/>
                </a:cubicBezTo>
                <a:cubicBezTo>
                  <a:pt x="389" y="4301"/>
                  <a:pt x="389" y="4301"/>
                  <a:pt x="389" y="4304"/>
                </a:cubicBezTo>
                <a:cubicBezTo>
                  <a:pt x="350" y="4401"/>
                  <a:pt x="314" y="4499"/>
                  <a:pt x="283" y="4599"/>
                </a:cubicBezTo>
                <a:cubicBezTo>
                  <a:pt x="267" y="4642"/>
                  <a:pt x="259" y="4688"/>
                  <a:pt x="244" y="4731"/>
                </a:cubicBezTo>
                <a:cubicBezTo>
                  <a:pt x="240" y="4748"/>
                  <a:pt x="232" y="4765"/>
                  <a:pt x="224" y="4785"/>
                </a:cubicBezTo>
                <a:cubicBezTo>
                  <a:pt x="220" y="4799"/>
                  <a:pt x="216" y="4814"/>
                  <a:pt x="212" y="4828"/>
                </a:cubicBezTo>
                <a:cubicBezTo>
                  <a:pt x="204" y="4857"/>
                  <a:pt x="196" y="4885"/>
                  <a:pt x="189" y="4914"/>
                </a:cubicBezTo>
                <a:cubicBezTo>
                  <a:pt x="165" y="5003"/>
                  <a:pt x="145" y="5092"/>
                  <a:pt x="126" y="5183"/>
                </a:cubicBezTo>
                <a:cubicBezTo>
                  <a:pt x="118" y="5215"/>
                  <a:pt x="114" y="5246"/>
                  <a:pt x="110" y="5278"/>
                </a:cubicBezTo>
                <a:cubicBezTo>
                  <a:pt x="106" y="5301"/>
                  <a:pt x="102" y="5323"/>
                  <a:pt x="98" y="5349"/>
                </a:cubicBezTo>
                <a:cubicBezTo>
                  <a:pt x="90" y="5386"/>
                  <a:pt x="82" y="5424"/>
                  <a:pt x="79" y="5461"/>
                </a:cubicBezTo>
                <a:cubicBezTo>
                  <a:pt x="63" y="5555"/>
                  <a:pt x="51" y="5650"/>
                  <a:pt x="39" y="5747"/>
                </a:cubicBezTo>
                <a:cubicBezTo>
                  <a:pt x="35" y="5776"/>
                  <a:pt x="35" y="5805"/>
                  <a:pt x="31" y="5833"/>
                </a:cubicBezTo>
                <a:cubicBezTo>
                  <a:pt x="27" y="5859"/>
                  <a:pt x="27" y="5882"/>
                  <a:pt x="24" y="5908"/>
                </a:cubicBezTo>
                <a:cubicBezTo>
                  <a:pt x="20" y="5953"/>
                  <a:pt x="16" y="5996"/>
                  <a:pt x="12" y="6042"/>
                </a:cubicBezTo>
                <a:cubicBezTo>
                  <a:pt x="8" y="6134"/>
                  <a:pt x="4" y="6226"/>
                  <a:pt x="0" y="6320"/>
                </a:cubicBezTo>
                <a:cubicBezTo>
                  <a:pt x="0" y="6354"/>
                  <a:pt x="0" y="6389"/>
                  <a:pt x="0" y="6423"/>
                </a:cubicBezTo>
                <a:cubicBezTo>
                  <a:pt x="0" y="6446"/>
                  <a:pt x="0" y="6469"/>
                  <a:pt x="0" y="6489"/>
                </a:cubicBezTo>
                <a:cubicBezTo>
                  <a:pt x="0" y="6526"/>
                  <a:pt x="0" y="6563"/>
                  <a:pt x="0" y="6603"/>
                </a:cubicBezTo>
                <a:cubicBezTo>
                  <a:pt x="0" y="6698"/>
                  <a:pt x="4" y="6795"/>
                  <a:pt x="8" y="6893"/>
                </a:cubicBezTo>
                <a:cubicBezTo>
                  <a:pt x="12" y="6939"/>
                  <a:pt x="16" y="6987"/>
                  <a:pt x="16" y="7033"/>
                </a:cubicBezTo>
                <a:cubicBezTo>
                  <a:pt x="16" y="7044"/>
                  <a:pt x="16" y="7056"/>
                  <a:pt x="16" y="7070"/>
                </a:cubicBezTo>
                <a:cubicBezTo>
                  <a:pt x="16" y="7082"/>
                  <a:pt x="20" y="7090"/>
                  <a:pt x="20" y="7102"/>
                </a:cubicBezTo>
                <a:cubicBezTo>
                  <a:pt x="24" y="7130"/>
                  <a:pt x="24" y="7159"/>
                  <a:pt x="27" y="7191"/>
                </a:cubicBezTo>
                <a:cubicBezTo>
                  <a:pt x="35" y="7288"/>
                  <a:pt x="47" y="7388"/>
                  <a:pt x="59" y="7488"/>
                </a:cubicBezTo>
                <a:cubicBezTo>
                  <a:pt x="67" y="7554"/>
                  <a:pt x="79" y="7623"/>
                  <a:pt x="86" y="7689"/>
                </a:cubicBezTo>
                <a:cubicBezTo>
                  <a:pt x="90" y="7706"/>
                  <a:pt x="90" y="7723"/>
                  <a:pt x="94" y="7743"/>
                </a:cubicBezTo>
                <a:cubicBezTo>
                  <a:pt x="98" y="7760"/>
                  <a:pt x="98" y="7778"/>
                  <a:pt x="102" y="7792"/>
                </a:cubicBezTo>
                <a:cubicBezTo>
                  <a:pt x="118" y="7895"/>
                  <a:pt x="137" y="7998"/>
                  <a:pt x="157" y="8101"/>
                </a:cubicBezTo>
                <a:cubicBezTo>
                  <a:pt x="173" y="8196"/>
                  <a:pt x="192" y="8290"/>
                  <a:pt x="216" y="8385"/>
                </a:cubicBezTo>
                <a:cubicBezTo>
                  <a:pt x="216" y="8393"/>
                  <a:pt x="220" y="8399"/>
                  <a:pt x="220" y="8408"/>
                </a:cubicBezTo>
                <a:cubicBezTo>
                  <a:pt x="220" y="8410"/>
                  <a:pt x="220" y="8416"/>
                  <a:pt x="224" y="8419"/>
                </a:cubicBezTo>
                <a:cubicBezTo>
                  <a:pt x="248" y="8531"/>
                  <a:pt x="275" y="8642"/>
                  <a:pt x="303" y="8757"/>
                </a:cubicBezTo>
                <a:cubicBezTo>
                  <a:pt x="330" y="8871"/>
                  <a:pt x="361" y="8983"/>
                  <a:pt x="393" y="9101"/>
                </a:cubicBezTo>
                <a:cubicBezTo>
                  <a:pt x="393" y="9101"/>
                  <a:pt x="393" y="9103"/>
                  <a:pt x="393" y="9103"/>
                </a:cubicBezTo>
                <a:cubicBezTo>
                  <a:pt x="393" y="9106"/>
                  <a:pt x="393" y="9109"/>
                  <a:pt x="397" y="9112"/>
                </a:cubicBezTo>
                <a:cubicBezTo>
                  <a:pt x="428" y="9224"/>
                  <a:pt x="464" y="9335"/>
                  <a:pt x="499" y="9450"/>
                </a:cubicBezTo>
                <a:cubicBezTo>
                  <a:pt x="534" y="9567"/>
                  <a:pt x="574" y="9685"/>
                  <a:pt x="617" y="9805"/>
                </a:cubicBezTo>
                <a:cubicBezTo>
                  <a:pt x="617" y="9808"/>
                  <a:pt x="617" y="9811"/>
                  <a:pt x="621" y="9814"/>
                </a:cubicBezTo>
                <a:cubicBezTo>
                  <a:pt x="621" y="9816"/>
                  <a:pt x="621" y="9819"/>
                  <a:pt x="625" y="9822"/>
                </a:cubicBezTo>
                <a:cubicBezTo>
                  <a:pt x="625" y="9825"/>
                  <a:pt x="625" y="9828"/>
                  <a:pt x="629" y="9831"/>
                </a:cubicBezTo>
                <a:cubicBezTo>
                  <a:pt x="629" y="9834"/>
                  <a:pt x="629" y="9836"/>
                  <a:pt x="633" y="9839"/>
                </a:cubicBezTo>
                <a:cubicBezTo>
                  <a:pt x="680" y="9977"/>
                  <a:pt x="731" y="10114"/>
                  <a:pt x="786" y="10252"/>
                </a:cubicBezTo>
                <a:cubicBezTo>
                  <a:pt x="798" y="10280"/>
                  <a:pt x="809" y="10309"/>
                  <a:pt x="821" y="10340"/>
                </a:cubicBezTo>
                <a:cubicBezTo>
                  <a:pt x="841" y="10389"/>
                  <a:pt x="860" y="10441"/>
                  <a:pt x="880" y="10489"/>
                </a:cubicBezTo>
                <a:cubicBezTo>
                  <a:pt x="904" y="10547"/>
                  <a:pt x="927" y="10607"/>
                  <a:pt x="951" y="10664"/>
                </a:cubicBezTo>
                <a:cubicBezTo>
                  <a:pt x="978" y="10730"/>
                  <a:pt x="1010" y="10796"/>
                  <a:pt x="1037" y="10859"/>
                </a:cubicBezTo>
                <a:cubicBezTo>
                  <a:pt x="1057" y="10907"/>
                  <a:pt x="1080" y="10953"/>
                  <a:pt x="1100" y="11002"/>
                </a:cubicBezTo>
                <a:cubicBezTo>
                  <a:pt x="1112" y="11025"/>
                  <a:pt x="1120" y="11048"/>
                  <a:pt x="1131" y="11074"/>
                </a:cubicBezTo>
                <a:cubicBezTo>
                  <a:pt x="1194" y="11211"/>
                  <a:pt x="1257" y="11346"/>
                  <a:pt x="1324" y="11483"/>
                </a:cubicBezTo>
                <a:cubicBezTo>
                  <a:pt x="1324" y="11486"/>
                  <a:pt x="1328" y="11489"/>
                  <a:pt x="1328" y="11492"/>
                </a:cubicBezTo>
                <a:cubicBezTo>
                  <a:pt x="1430" y="11695"/>
                  <a:pt x="1536" y="11898"/>
                  <a:pt x="1646" y="12102"/>
                </a:cubicBezTo>
                <a:cubicBezTo>
                  <a:pt x="1654" y="12113"/>
                  <a:pt x="1658" y="12125"/>
                  <a:pt x="1666" y="12136"/>
                </a:cubicBezTo>
                <a:cubicBezTo>
                  <a:pt x="1689" y="12179"/>
                  <a:pt x="1717" y="12222"/>
                  <a:pt x="1740" y="12268"/>
                </a:cubicBezTo>
                <a:cubicBezTo>
                  <a:pt x="1823" y="12414"/>
                  <a:pt x="1905" y="12560"/>
                  <a:pt x="1992" y="12703"/>
                </a:cubicBezTo>
                <a:cubicBezTo>
                  <a:pt x="2008" y="12729"/>
                  <a:pt x="2023" y="12755"/>
                  <a:pt x="2039" y="12783"/>
                </a:cubicBezTo>
                <a:cubicBezTo>
                  <a:pt x="2067" y="12829"/>
                  <a:pt x="2094" y="12872"/>
                  <a:pt x="2122" y="12915"/>
                </a:cubicBezTo>
                <a:cubicBezTo>
                  <a:pt x="2200" y="13044"/>
                  <a:pt x="2283" y="13173"/>
                  <a:pt x="2365" y="13301"/>
                </a:cubicBezTo>
                <a:cubicBezTo>
                  <a:pt x="2389" y="13342"/>
                  <a:pt x="2412" y="13379"/>
                  <a:pt x="2440" y="13419"/>
                </a:cubicBezTo>
                <a:cubicBezTo>
                  <a:pt x="2463" y="13453"/>
                  <a:pt x="2487" y="13485"/>
                  <a:pt x="2510" y="13519"/>
                </a:cubicBezTo>
                <a:cubicBezTo>
                  <a:pt x="2597" y="13648"/>
                  <a:pt x="2687" y="13777"/>
                  <a:pt x="2778" y="13903"/>
                </a:cubicBezTo>
                <a:cubicBezTo>
                  <a:pt x="2809" y="13949"/>
                  <a:pt x="2840" y="13997"/>
                  <a:pt x="2876" y="14043"/>
                </a:cubicBezTo>
                <a:cubicBezTo>
                  <a:pt x="2888" y="14060"/>
                  <a:pt x="2899" y="14075"/>
                  <a:pt x="2911" y="14092"/>
                </a:cubicBezTo>
                <a:cubicBezTo>
                  <a:pt x="2931" y="14120"/>
                  <a:pt x="2950" y="14149"/>
                  <a:pt x="2974" y="14178"/>
                </a:cubicBezTo>
                <a:cubicBezTo>
                  <a:pt x="3127" y="14387"/>
                  <a:pt x="3288" y="14596"/>
                  <a:pt x="3453" y="14799"/>
                </a:cubicBezTo>
                <a:cubicBezTo>
                  <a:pt x="3469" y="14819"/>
                  <a:pt x="3481" y="14839"/>
                  <a:pt x="3497" y="14856"/>
                </a:cubicBezTo>
                <a:cubicBezTo>
                  <a:pt x="3520" y="14885"/>
                  <a:pt x="3544" y="14914"/>
                  <a:pt x="3567" y="14942"/>
                </a:cubicBezTo>
                <a:cubicBezTo>
                  <a:pt x="3752" y="15168"/>
                  <a:pt x="3937" y="15389"/>
                  <a:pt x="4129" y="15609"/>
                </a:cubicBezTo>
                <a:cubicBezTo>
                  <a:pt x="4141" y="15621"/>
                  <a:pt x="4149" y="15632"/>
                  <a:pt x="4157" y="15644"/>
                </a:cubicBezTo>
                <a:cubicBezTo>
                  <a:pt x="4161" y="15647"/>
                  <a:pt x="4164" y="15650"/>
                  <a:pt x="4164" y="15652"/>
                </a:cubicBezTo>
                <a:cubicBezTo>
                  <a:pt x="4369" y="15882"/>
                  <a:pt x="4577" y="16102"/>
                  <a:pt x="4789" y="16323"/>
                </a:cubicBezTo>
                <a:cubicBezTo>
                  <a:pt x="4813" y="16345"/>
                  <a:pt x="4836" y="16371"/>
                  <a:pt x="4860" y="16397"/>
                </a:cubicBezTo>
                <a:cubicBezTo>
                  <a:pt x="4879" y="16420"/>
                  <a:pt x="4903" y="16440"/>
                  <a:pt x="4927" y="16463"/>
                </a:cubicBezTo>
                <a:cubicBezTo>
                  <a:pt x="5139" y="16678"/>
                  <a:pt x="5355" y="16890"/>
                  <a:pt x="5575" y="17093"/>
                </a:cubicBezTo>
                <a:cubicBezTo>
                  <a:pt x="5583" y="17099"/>
                  <a:pt x="5591" y="17107"/>
                  <a:pt x="5598" y="17113"/>
                </a:cubicBezTo>
                <a:cubicBezTo>
                  <a:pt x="5634" y="17144"/>
                  <a:pt x="5669" y="17176"/>
                  <a:pt x="5704" y="17207"/>
                </a:cubicBezTo>
                <a:cubicBezTo>
                  <a:pt x="5842" y="17333"/>
                  <a:pt x="5979" y="17456"/>
                  <a:pt x="6121" y="17580"/>
                </a:cubicBezTo>
                <a:cubicBezTo>
                  <a:pt x="6144" y="17603"/>
                  <a:pt x="6168" y="17625"/>
                  <a:pt x="6196" y="17645"/>
                </a:cubicBezTo>
                <a:cubicBezTo>
                  <a:pt x="6235" y="17677"/>
                  <a:pt x="6274" y="17708"/>
                  <a:pt x="6309" y="17740"/>
                </a:cubicBezTo>
                <a:cubicBezTo>
                  <a:pt x="6372" y="17794"/>
                  <a:pt x="6435" y="17849"/>
                  <a:pt x="6498" y="17903"/>
                </a:cubicBezTo>
                <a:cubicBezTo>
                  <a:pt x="6561" y="17955"/>
                  <a:pt x="6624" y="18006"/>
                  <a:pt x="6691" y="18058"/>
                </a:cubicBezTo>
                <a:cubicBezTo>
                  <a:pt x="6730" y="18089"/>
                  <a:pt x="6765" y="18121"/>
                  <a:pt x="6805" y="18152"/>
                </a:cubicBezTo>
                <a:cubicBezTo>
                  <a:pt x="6832" y="18172"/>
                  <a:pt x="6856" y="18192"/>
                  <a:pt x="6883" y="18212"/>
                </a:cubicBezTo>
                <a:cubicBezTo>
                  <a:pt x="7028" y="18327"/>
                  <a:pt x="7174" y="18439"/>
                  <a:pt x="7319" y="18547"/>
                </a:cubicBezTo>
                <a:cubicBezTo>
                  <a:pt x="7355" y="18573"/>
                  <a:pt x="7390" y="18602"/>
                  <a:pt x="7425" y="18628"/>
                </a:cubicBezTo>
                <a:cubicBezTo>
                  <a:pt x="7433" y="18633"/>
                  <a:pt x="7445" y="18639"/>
                  <a:pt x="7453" y="18648"/>
                </a:cubicBezTo>
                <a:cubicBezTo>
                  <a:pt x="7645" y="18788"/>
                  <a:pt x="7838" y="18925"/>
                  <a:pt x="8030" y="19057"/>
                </a:cubicBezTo>
                <a:cubicBezTo>
                  <a:pt x="8038" y="19063"/>
                  <a:pt x="8046" y="19069"/>
                  <a:pt x="8054" y="19074"/>
                </a:cubicBezTo>
                <a:cubicBezTo>
                  <a:pt x="8187" y="19166"/>
                  <a:pt x="8321" y="19255"/>
                  <a:pt x="8458" y="19341"/>
                </a:cubicBezTo>
                <a:cubicBezTo>
                  <a:pt x="8466" y="19346"/>
                  <a:pt x="8474" y="19349"/>
                  <a:pt x="8482" y="19355"/>
                </a:cubicBezTo>
                <a:cubicBezTo>
                  <a:pt x="8521" y="19378"/>
                  <a:pt x="8557" y="19404"/>
                  <a:pt x="8596" y="19427"/>
                </a:cubicBezTo>
                <a:cubicBezTo>
                  <a:pt x="8686" y="19484"/>
                  <a:pt x="8773" y="19538"/>
                  <a:pt x="8863" y="19593"/>
                </a:cubicBezTo>
                <a:cubicBezTo>
                  <a:pt x="8891" y="19610"/>
                  <a:pt x="8922" y="19627"/>
                  <a:pt x="8954" y="19644"/>
                </a:cubicBezTo>
                <a:cubicBezTo>
                  <a:pt x="9009" y="19676"/>
                  <a:pt x="9064" y="19707"/>
                  <a:pt x="9119" y="19739"/>
                </a:cubicBezTo>
                <a:cubicBezTo>
                  <a:pt x="9170" y="19770"/>
                  <a:pt x="9221" y="19802"/>
                  <a:pt x="9276" y="19830"/>
                </a:cubicBezTo>
                <a:cubicBezTo>
                  <a:pt x="9331" y="19862"/>
                  <a:pt x="9386" y="19891"/>
                  <a:pt x="9445" y="19922"/>
                </a:cubicBezTo>
                <a:cubicBezTo>
                  <a:pt x="9500" y="19951"/>
                  <a:pt x="9551" y="19982"/>
                  <a:pt x="9606" y="20011"/>
                </a:cubicBezTo>
                <a:cubicBezTo>
                  <a:pt x="9633" y="20025"/>
                  <a:pt x="9661" y="20042"/>
                  <a:pt x="9688" y="20057"/>
                </a:cubicBezTo>
                <a:cubicBezTo>
                  <a:pt x="9802" y="20117"/>
                  <a:pt x="9920" y="20177"/>
                  <a:pt x="10034" y="20237"/>
                </a:cubicBezTo>
                <a:cubicBezTo>
                  <a:pt x="10042" y="20240"/>
                  <a:pt x="10046" y="20243"/>
                  <a:pt x="10054" y="20246"/>
                </a:cubicBezTo>
                <a:cubicBezTo>
                  <a:pt x="10073" y="20254"/>
                  <a:pt x="10093" y="20266"/>
                  <a:pt x="10112" y="20274"/>
                </a:cubicBezTo>
                <a:cubicBezTo>
                  <a:pt x="10203" y="20317"/>
                  <a:pt x="10289" y="20363"/>
                  <a:pt x="10380" y="20406"/>
                </a:cubicBezTo>
                <a:cubicBezTo>
                  <a:pt x="10427" y="20429"/>
                  <a:pt x="10478" y="20452"/>
                  <a:pt x="10525" y="20475"/>
                </a:cubicBezTo>
                <a:cubicBezTo>
                  <a:pt x="10545" y="20483"/>
                  <a:pt x="10568" y="20495"/>
                  <a:pt x="10588" y="20506"/>
                </a:cubicBezTo>
                <a:cubicBezTo>
                  <a:pt x="10604" y="20515"/>
                  <a:pt x="10619" y="20521"/>
                  <a:pt x="10635" y="20526"/>
                </a:cubicBezTo>
                <a:cubicBezTo>
                  <a:pt x="10662" y="20541"/>
                  <a:pt x="10694" y="20552"/>
                  <a:pt x="10721" y="20566"/>
                </a:cubicBezTo>
                <a:cubicBezTo>
                  <a:pt x="10835" y="20618"/>
                  <a:pt x="10953" y="20667"/>
                  <a:pt x="11067" y="20715"/>
                </a:cubicBezTo>
                <a:cubicBezTo>
                  <a:pt x="11075" y="20718"/>
                  <a:pt x="11083" y="20721"/>
                  <a:pt x="11091" y="20724"/>
                </a:cubicBezTo>
                <a:cubicBezTo>
                  <a:pt x="11110" y="20732"/>
                  <a:pt x="11126" y="20738"/>
                  <a:pt x="11146" y="20744"/>
                </a:cubicBezTo>
                <a:cubicBezTo>
                  <a:pt x="11228" y="20778"/>
                  <a:pt x="11311" y="20810"/>
                  <a:pt x="11393" y="20841"/>
                </a:cubicBezTo>
                <a:cubicBezTo>
                  <a:pt x="11448" y="20864"/>
                  <a:pt x="11507" y="20884"/>
                  <a:pt x="11562" y="20904"/>
                </a:cubicBezTo>
                <a:cubicBezTo>
                  <a:pt x="11594" y="20916"/>
                  <a:pt x="11625" y="20927"/>
                  <a:pt x="11656" y="20939"/>
                </a:cubicBezTo>
                <a:cubicBezTo>
                  <a:pt x="11676" y="20944"/>
                  <a:pt x="11696" y="20953"/>
                  <a:pt x="11715" y="20961"/>
                </a:cubicBezTo>
                <a:cubicBezTo>
                  <a:pt x="11821" y="20999"/>
                  <a:pt x="11928" y="21036"/>
                  <a:pt x="12034" y="21070"/>
                </a:cubicBezTo>
                <a:cubicBezTo>
                  <a:pt x="12053" y="21076"/>
                  <a:pt x="12077" y="21082"/>
                  <a:pt x="12096" y="21090"/>
                </a:cubicBezTo>
                <a:cubicBezTo>
                  <a:pt x="12128" y="21102"/>
                  <a:pt x="12159" y="21110"/>
                  <a:pt x="12195" y="21122"/>
                </a:cubicBezTo>
                <a:cubicBezTo>
                  <a:pt x="12246" y="21139"/>
                  <a:pt x="12301" y="21156"/>
                  <a:pt x="12352" y="21170"/>
                </a:cubicBezTo>
                <a:cubicBezTo>
                  <a:pt x="12438" y="21196"/>
                  <a:pt x="12525" y="21219"/>
                  <a:pt x="12607" y="21242"/>
                </a:cubicBezTo>
                <a:cubicBezTo>
                  <a:pt x="12623" y="21245"/>
                  <a:pt x="12639" y="21251"/>
                  <a:pt x="12650" y="21254"/>
                </a:cubicBezTo>
                <a:cubicBezTo>
                  <a:pt x="12654" y="21254"/>
                  <a:pt x="12658" y="21256"/>
                  <a:pt x="12662" y="21256"/>
                </a:cubicBezTo>
                <a:cubicBezTo>
                  <a:pt x="12768" y="21285"/>
                  <a:pt x="12870" y="21311"/>
                  <a:pt x="12973" y="21334"/>
                </a:cubicBezTo>
                <a:cubicBezTo>
                  <a:pt x="13012" y="21342"/>
                  <a:pt x="13051" y="21351"/>
                  <a:pt x="13090" y="21360"/>
                </a:cubicBezTo>
                <a:cubicBezTo>
                  <a:pt x="13122" y="21368"/>
                  <a:pt x="13157" y="21374"/>
                  <a:pt x="13189" y="21382"/>
                </a:cubicBezTo>
                <a:cubicBezTo>
                  <a:pt x="13220" y="21388"/>
                  <a:pt x="13252" y="21397"/>
                  <a:pt x="13283" y="21402"/>
                </a:cubicBezTo>
                <a:cubicBezTo>
                  <a:pt x="13385" y="21422"/>
                  <a:pt x="13487" y="21443"/>
                  <a:pt x="13589" y="21460"/>
                </a:cubicBezTo>
                <a:cubicBezTo>
                  <a:pt x="13601" y="21463"/>
                  <a:pt x="13613" y="21463"/>
                  <a:pt x="13625" y="21465"/>
                </a:cubicBezTo>
                <a:cubicBezTo>
                  <a:pt x="13644" y="21468"/>
                  <a:pt x="13660" y="21471"/>
                  <a:pt x="13680" y="21474"/>
                </a:cubicBezTo>
                <a:cubicBezTo>
                  <a:pt x="13739" y="21483"/>
                  <a:pt x="13798" y="21494"/>
                  <a:pt x="13853" y="21503"/>
                </a:cubicBezTo>
                <a:cubicBezTo>
                  <a:pt x="13939" y="21514"/>
                  <a:pt x="14025" y="21526"/>
                  <a:pt x="14112" y="21537"/>
                </a:cubicBezTo>
                <a:cubicBezTo>
                  <a:pt x="14116" y="21537"/>
                  <a:pt x="14124" y="21537"/>
                  <a:pt x="14128" y="21540"/>
                </a:cubicBezTo>
                <a:cubicBezTo>
                  <a:pt x="14139" y="21540"/>
                  <a:pt x="14147" y="21543"/>
                  <a:pt x="14159" y="21543"/>
                </a:cubicBezTo>
                <a:cubicBezTo>
                  <a:pt x="14230" y="21551"/>
                  <a:pt x="14300" y="21557"/>
                  <a:pt x="14371" y="21566"/>
                </a:cubicBezTo>
                <a:cubicBezTo>
                  <a:pt x="14458" y="21574"/>
                  <a:pt x="14540" y="21580"/>
                  <a:pt x="14627" y="21586"/>
                </a:cubicBezTo>
                <a:cubicBezTo>
                  <a:pt x="14646" y="21586"/>
                  <a:pt x="14666" y="21589"/>
                  <a:pt x="14689" y="21589"/>
                </a:cubicBezTo>
                <a:cubicBezTo>
                  <a:pt x="14713" y="21589"/>
                  <a:pt x="14729" y="21591"/>
                  <a:pt x="14752" y="21591"/>
                </a:cubicBezTo>
                <a:cubicBezTo>
                  <a:pt x="14772" y="21591"/>
                  <a:pt x="14792" y="21594"/>
                  <a:pt x="14811" y="21594"/>
                </a:cubicBezTo>
                <a:cubicBezTo>
                  <a:pt x="14831" y="21594"/>
                  <a:pt x="14850" y="21594"/>
                  <a:pt x="14870" y="21597"/>
                </a:cubicBezTo>
                <a:cubicBezTo>
                  <a:pt x="14996" y="21600"/>
                  <a:pt x="15118" y="21600"/>
                  <a:pt x="15236" y="21600"/>
                </a:cubicBezTo>
                <a:cubicBezTo>
                  <a:pt x="15251" y="21600"/>
                  <a:pt x="15267" y="21597"/>
                  <a:pt x="15279" y="21597"/>
                </a:cubicBezTo>
                <a:cubicBezTo>
                  <a:pt x="15287" y="21597"/>
                  <a:pt x="15294" y="21597"/>
                  <a:pt x="15302" y="21597"/>
                </a:cubicBezTo>
                <a:cubicBezTo>
                  <a:pt x="15318" y="21597"/>
                  <a:pt x="15330" y="21594"/>
                  <a:pt x="15346" y="21594"/>
                </a:cubicBezTo>
                <a:cubicBezTo>
                  <a:pt x="15428" y="21591"/>
                  <a:pt x="15507" y="21589"/>
                  <a:pt x="15585" y="21583"/>
                </a:cubicBezTo>
                <a:cubicBezTo>
                  <a:pt x="15699" y="21574"/>
                  <a:pt x="15813" y="21566"/>
                  <a:pt x="15923" y="21551"/>
                </a:cubicBezTo>
                <a:cubicBezTo>
                  <a:pt x="15923" y="21551"/>
                  <a:pt x="15927" y="21551"/>
                  <a:pt x="15927" y="21551"/>
                </a:cubicBezTo>
                <a:cubicBezTo>
                  <a:pt x="15927" y="21551"/>
                  <a:pt x="15931" y="21551"/>
                  <a:pt x="15931" y="21551"/>
                </a:cubicBezTo>
                <a:cubicBezTo>
                  <a:pt x="15935" y="21551"/>
                  <a:pt x="15935" y="21551"/>
                  <a:pt x="15939" y="21548"/>
                </a:cubicBezTo>
                <a:cubicBezTo>
                  <a:pt x="16045" y="21534"/>
                  <a:pt x="16147" y="21520"/>
                  <a:pt x="16249" y="21503"/>
                </a:cubicBezTo>
                <a:cubicBezTo>
                  <a:pt x="16320" y="21491"/>
                  <a:pt x="16391" y="21477"/>
                  <a:pt x="16461" y="21463"/>
                </a:cubicBezTo>
                <a:cubicBezTo>
                  <a:pt x="16477" y="21460"/>
                  <a:pt x="16489" y="21457"/>
                  <a:pt x="16504" y="21451"/>
                </a:cubicBezTo>
                <a:cubicBezTo>
                  <a:pt x="16508" y="21451"/>
                  <a:pt x="16512" y="21451"/>
                  <a:pt x="16516" y="21448"/>
                </a:cubicBezTo>
                <a:cubicBezTo>
                  <a:pt x="16524" y="21445"/>
                  <a:pt x="16528" y="21445"/>
                  <a:pt x="16536" y="21442"/>
                </a:cubicBezTo>
                <a:cubicBezTo>
                  <a:pt x="16579" y="21431"/>
                  <a:pt x="16622" y="21422"/>
                  <a:pt x="16666" y="21411"/>
                </a:cubicBezTo>
                <a:cubicBezTo>
                  <a:pt x="16732" y="21394"/>
                  <a:pt x="16799" y="21377"/>
                  <a:pt x="16866" y="21357"/>
                </a:cubicBezTo>
                <a:cubicBezTo>
                  <a:pt x="16933" y="21337"/>
                  <a:pt x="16996" y="21316"/>
                  <a:pt x="17062" y="21294"/>
                </a:cubicBezTo>
                <a:cubicBezTo>
                  <a:pt x="18575" y="20778"/>
                  <a:pt x="20087" y="20260"/>
                  <a:pt x="21600" y="19744"/>
                </a:cubicBezTo>
                <a:cubicBezTo>
                  <a:pt x="21423" y="19770"/>
                  <a:pt x="21254" y="19816"/>
                  <a:pt x="21077" y="1985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sp>
        <p:nvSpPr>
          <p:cNvPr id="21" name="Shape">
            <a:extLst>
              <a:ext uri="{FF2B5EF4-FFF2-40B4-BE49-F238E27FC236}">
                <a16:creationId xmlns="" xmlns:a16="http://schemas.microsoft.com/office/drawing/2014/main" id="{B394AB40-6CE4-47F7-BAC2-F495BCCEB171}"/>
              </a:ext>
            </a:extLst>
          </p:cNvPr>
          <p:cNvSpPr/>
          <p:nvPr/>
        </p:nvSpPr>
        <p:spPr>
          <a:xfrm>
            <a:off x="2080888" y="2980522"/>
            <a:ext cx="1248431" cy="17354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8" h="21427" extrusionOk="0">
                <a:moveTo>
                  <a:pt x="6978" y="188"/>
                </a:moveTo>
                <a:cubicBezTo>
                  <a:pt x="8329" y="457"/>
                  <a:pt x="9716" y="991"/>
                  <a:pt x="11067" y="1721"/>
                </a:cubicBezTo>
                <a:cubicBezTo>
                  <a:pt x="12403" y="2446"/>
                  <a:pt x="13718" y="3372"/>
                  <a:pt x="14924" y="4434"/>
                </a:cubicBezTo>
                <a:cubicBezTo>
                  <a:pt x="16131" y="5490"/>
                  <a:pt x="17243" y="6686"/>
                  <a:pt x="18204" y="7965"/>
                </a:cubicBezTo>
                <a:cubicBezTo>
                  <a:pt x="19165" y="9243"/>
                  <a:pt x="19967" y="10610"/>
                  <a:pt x="20552" y="12008"/>
                </a:cubicBezTo>
                <a:cubicBezTo>
                  <a:pt x="21137" y="13411"/>
                  <a:pt x="21448" y="14721"/>
                  <a:pt x="21498" y="15891"/>
                </a:cubicBezTo>
                <a:cubicBezTo>
                  <a:pt x="21556" y="17072"/>
                  <a:pt x="21354" y="18112"/>
                  <a:pt x="20913" y="18967"/>
                </a:cubicBezTo>
                <a:cubicBezTo>
                  <a:pt x="20472" y="19831"/>
                  <a:pt x="19779" y="20499"/>
                  <a:pt x="18876" y="20918"/>
                </a:cubicBezTo>
                <a:cubicBezTo>
                  <a:pt x="17958" y="21348"/>
                  <a:pt x="16803" y="21519"/>
                  <a:pt x="15452" y="21379"/>
                </a:cubicBezTo>
                <a:cubicBezTo>
                  <a:pt x="14079" y="21239"/>
                  <a:pt x="12634" y="20789"/>
                  <a:pt x="11197" y="20095"/>
                </a:cubicBezTo>
                <a:cubicBezTo>
                  <a:pt x="9745" y="19396"/>
                  <a:pt x="8300" y="18444"/>
                  <a:pt x="6956" y="17315"/>
                </a:cubicBezTo>
                <a:cubicBezTo>
                  <a:pt x="5605" y="16181"/>
                  <a:pt x="4355" y="14871"/>
                  <a:pt x="3294" y="13453"/>
                </a:cubicBezTo>
                <a:cubicBezTo>
                  <a:pt x="2232" y="12039"/>
                  <a:pt x="1372" y="10527"/>
                  <a:pt x="787" y="8990"/>
                </a:cubicBezTo>
                <a:cubicBezTo>
                  <a:pt x="202" y="7462"/>
                  <a:pt x="-44" y="6070"/>
                  <a:pt x="7" y="4858"/>
                </a:cubicBezTo>
                <a:cubicBezTo>
                  <a:pt x="57" y="3657"/>
                  <a:pt x="389" y="2642"/>
                  <a:pt x="975" y="1850"/>
                </a:cubicBezTo>
                <a:cubicBezTo>
                  <a:pt x="1553" y="1074"/>
                  <a:pt x="2376" y="514"/>
                  <a:pt x="3395" y="225"/>
                </a:cubicBezTo>
                <a:cubicBezTo>
                  <a:pt x="4399" y="-55"/>
                  <a:pt x="5612" y="-81"/>
                  <a:pt x="6978" y="188"/>
                </a:cubicBezTo>
                <a:close/>
                <a:moveTo>
                  <a:pt x="13761" y="17149"/>
                </a:moveTo>
                <a:cubicBezTo>
                  <a:pt x="14592" y="17253"/>
                  <a:pt x="15307" y="17165"/>
                  <a:pt x="15878" y="16916"/>
                </a:cubicBezTo>
                <a:cubicBezTo>
                  <a:pt x="16449" y="16673"/>
                  <a:pt x="16882" y="16274"/>
                  <a:pt x="17171" y="15757"/>
                </a:cubicBezTo>
                <a:cubicBezTo>
                  <a:pt x="17460" y="15239"/>
                  <a:pt x="17597" y="14602"/>
                  <a:pt x="17568" y="13877"/>
                </a:cubicBezTo>
                <a:cubicBezTo>
                  <a:pt x="17547" y="13152"/>
                  <a:pt x="17359" y="12340"/>
                  <a:pt x="17005" y="11465"/>
                </a:cubicBezTo>
                <a:cubicBezTo>
                  <a:pt x="16644" y="10590"/>
                  <a:pt x="16145" y="9735"/>
                  <a:pt x="15546" y="8938"/>
                </a:cubicBezTo>
                <a:cubicBezTo>
                  <a:pt x="14946" y="8141"/>
                  <a:pt x="14245" y="7390"/>
                  <a:pt x="13494" y="6732"/>
                </a:cubicBezTo>
                <a:cubicBezTo>
                  <a:pt x="12735" y="6075"/>
                  <a:pt x="11919" y="5505"/>
                  <a:pt x="11081" y="5060"/>
                </a:cubicBezTo>
                <a:cubicBezTo>
                  <a:pt x="10243" y="4615"/>
                  <a:pt x="9383" y="4294"/>
                  <a:pt x="8553" y="4144"/>
                </a:cubicBezTo>
                <a:cubicBezTo>
                  <a:pt x="7715" y="3994"/>
                  <a:pt x="6978" y="4025"/>
                  <a:pt x="6371" y="4216"/>
                </a:cubicBezTo>
                <a:cubicBezTo>
                  <a:pt x="5757" y="4408"/>
                  <a:pt x="5273" y="4765"/>
                  <a:pt x="4933" y="5252"/>
                </a:cubicBezTo>
                <a:cubicBezTo>
                  <a:pt x="4594" y="5744"/>
                  <a:pt x="4406" y="6370"/>
                  <a:pt x="4392" y="7105"/>
                </a:cubicBezTo>
                <a:cubicBezTo>
                  <a:pt x="4377" y="7846"/>
                  <a:pt x="4536" y="8689"/>
                  <a:pt x="4897" y="9611"/>
                </a:cubicBezTo>
                <a:cubicBezTo>
                  <a:pt x="5258" y="10533"/>
                  <a:pt x="5779" y="11444"/>
                  <a:pt x="6414" y="12293"/>
                </a:cubicBezTo>
                <a:cubicBezTo>
                  <a:pt x="7050" y="13142"/>
                  <a:pt x="7801" y="13934"/>
                  <a:pt x="8610" y="14618"/>
                </a:cubicBezTo>
                <a:cubicBezTo>
                  <a:pt x="9420" y="15301"/>
                  <a:pt x="10286" y="15881"/>
                  <a:pt x="11168" y="16316"/>
                </a:cubicBezTo>
                <a:cubicBezTo>
                  <a:pt x="12042" y="16761"/>
                  <a:pt x="12923" y="17046"/>
                  <a:pt x="13761" y="17149"/>
                </a:cubicBezTo>
              </a:path>
            </a:pathLst>
          </a:custGeom>
          <a:gradFill flip="none" rotWithShape="1">
            <a:gsLst>
              <a:gs pos="17000">
                <a:srgbClr val="A30000"/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="" xmlns:a16="http://schemas.microsoft.com/office/drawing/2014/main" id="{3E60ED51-635F-41D2-A925-CEF28A46920D}"/>
              </a:ext>
            </a:extLst>
          </p:cNvPr>
          <p:cNvSpPr/>
          <p:nvPr/>
        </p:nvSpPr>
        <p:spPr>
          <a:xfrm>
            <a:off x="2542144" y="3609514"/>
            <a:ext cx="325852" cy="4528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74" h="21401" extrusionOk="0">
                <a:moveTo>
                  <a:pt x="6691" y="122"/>
                </a:moveTo>
                <a:cubicBezTo>
                  <a:pt x="8051" y="340"/>
                  <a:pt x="9467" y="855"/>
                  <a:pt x="10856" y="1569"/>
                </a:cubicBezTo>
                <a:cubicBezTo>
                  <a:pt x="12244" y="2282"/>
                  <a:pt x="13604" y="3233"/>
                  <a:pt x="14853" y="4303"/>
                </a:cubicBezTo>
                <a:cubicBezTo>
                  <a:pt x="16103" y="5393"/>
                  <a:pt x="17269" y="6622"/>
                  <a:pt x="18268" y="7950"/>
                </a:cubicBezTo>
                <a:cubicBezTo>
                  <a:pt x="19268" y="9277"/>
                  <a:pt x="20101" y="10704"/>
                  <a:pt x="20684" y="12151"/>
                </a:cubicBezTo>
                <a:cubicBezTo>
                  <a:pt x="21267" y="13597"/>
                  <a:pt x="21572" y="14945"/>
                  <a:pt x="21572" y="16114"/>
                </a:cubicBezTo>
                <a:cubicBezTo>
                  <a:pt x="21600" y="17303"/>
                  <a:pt x="21350" y="18333"/>
                  <a:pt x="20850" y="19166"/>
                </a:cubicBezTo>
                <a:cubicBezTo>
                  <a:pt x="20351" y="19998"/>
                  <a:pt x="19629" y="20632"/>
                  <a:pt x="18657" y="21009"/>
                </a:cubicBezTo>
                <a:cubicBezTo>
                  <a:pt x="17685" y="21385"/>
                  <a:pt x="16519" y="21504"/>
                  <a:pt x="15159" y="21306"/>
                </a:cubicBezTo>
                <a:cubicBezTo>
                  <a:pt x="13798" y="21108"/>
                  <a:pt x="12355" y="20632"/>
                  <a:pt x="10939" y="19919"/>
                </a:cubicBezTo>
                <a:cubicBezTo>
                  <a:pt x="9523" y="19205"/>
                  <a:pt x="8135" y="18274"/>
                  <a:pt x="6830" y="17164"/>
                </a:cubicBezTo>
                <a:cubicBezTo>
                  <a:pt x="5525" y="16054"/>
                  <a:pt x="4331" y="14786"/>
                  <a:pt x="3304" y="13439"/>
                </a:cubicBezTo>
                <a:cubicBezTo>
                  <a:pt x="2277" y="12071"/>
                  <a:pt x="1444" y="10625"/>
                  <a:pt x="861" y="9138"/>
                </a:cubicBezTo>
                <a:cubicBezTo>
                  <a:pt x="278" y="7652"/>
                  <a:pt x="0" y="6285"/>
                  <a:pt x="0" y="5096"/>
                </a:cubicBezTo>
                <a:cubicBezTo>
                  <a:pt x="0" y="3907"/>
                  <a:pt x="278" y="2876"/>
                  <a:pt x="833" y="2064"/>
                </a:cubicBezTo>
                <a:cubicBezTo>
                  <a:pt x="1360" y="1252"/>
                  <a:pt x="2138" y="657"/>
                  <a:pt x="3110" y="320"/>
                </a:cubicBezTo>
                <a:cubicBezTo>
                  <a:pt x="4137" y="-17"/>
                  <a:pt x="5331" y="-96"/>
                  <a:pt x="6691" y="122"/>
                </a:cubicBezTo>
                <a:close/>
              </a:path>
            </a:pathLst>
          </a:cu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="" xmlns:a16="http://schemas.microsoft.com/office/drawing/2014/main" id="{38A111FE-362B-4642-8673-C4671C5F3EC5}"/>
              </a:ext>
            </a:extLst>
          </p:cNvPr>
          <p:cNvSpPr/>
          <p:nvPr/>
        </p:nvSpPr>
        <p:spPr>
          <a:xfrm>
            <a:off x="1871227" y="2728931"/>
            <a:ext cx="1629248" cy="22640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42" extrusionOk="0">
                <a:moveTo>
                  <a:pt x="7119" y="217"/>
                </a:moveTo>
                <a:cubicBezTo>
                  <a:pt x="8463" y="503"/>
                  <a:pt x="9841" y="1043"/>
                  <a:pt x="11174" y="1782"/>
                </a:cubicBezTo>
                <a:cubicBezTo>
                  <a:pt x="12496" y="2508"/>
                  <a:pt x="13784" y="3430"/>
                  <a:pt x="14974" y="4482"/>
                </a:cubicBezTo>
                <a:cubicBezTo>
                  <a:pt x="16157" y="5527"/>
                  <a:pt x="17253" y="6706"/>
                  <a:pt x="18193" y="7965"/>
                </a:cubicBezTo>
                <a:cubicBezTo>
                  <a:pt x="19133" y="9224"/>
                  <a:pt x="19930" y="10570"/>
                  <a:pt x="20511" y="11948"/>
                </a:cubicBezTo>
                <a:cubicBezTo>
                  <a:pt x="21097" y="13334"/>
                  <a:pt x="21412" y="14633"/>
                  <a:pt x="21479" y="15796"/>
                </a:cubicBezTo>
                <a:cubicBezTo>
                  <a:pt x="21545" y="16972"/>
                  <a:pt x="21362" y="18016"/>
                  <a:pt x="20948" y="18878"/>
                </a:cubicBezTo>
                <a:cubicBezTo>
                  <a:pt x="20522" y="19752"/>
                  <a:pt x="19858" y="20439"/>
                  <a:pt x="18967" y="20880"/>
                </a:cubicBezTo>
                <a:cubicBezTo>
                  <a:pt x="18060" y="21328"/>
                  <a:pt x="16926" y="21527"/>
                  <a:pt x="15577" y="21408"/>
                </a:cubicBezTo>
                <a:cubicBezTo>
                  <a:pt x="14205" y="21289"/>
                  <a:pt x="12756" y="20856"/>
                  <a:pt x="11301" y="20169"/>
                </a:cubicBezTo>
                <a:cubicBezTo>
                  <a:pt x="9830" y="19474"/>
                  <a:pt x="8369" y="18521"/>
                  <a:pt x="7003" y="17381"/>
                </a:cubicBezTo>
                <a:cubicBezTo>
                  <a:pt x="5626" y="16233"/>
                  <a:pt x="4359" y="14903"/>
                  <a:pt x="3286" y="13465"/>
                </a:cubicBezTo>
                <a:cubicBezTo>
                  <a:pt x="2213" y="12028"/>
                  <a:pt x="1339" y="10491"/>
                  <a:pt x="758" y="8934"/>
                </a:cubicBezTo>
                <a:cubicBezTo>
                  <a:pt x="177" y="7389"/>
                  <a:pt x="-55" y="5979"/>
                  <a:pt x="11" y="4760"/>
                </a:cubicBezTo>
                <a:cubicBezTo>
                  <a:pt x="78" y="3557"/>
                  <a:pt x="437" y="2544"/>
                  <a:pt x="1046" y="1766"/>
                </a:cubicBezTo>
                <a:cubicBezTo>
                  <a:pt x="1643" y="999"/>
                  <a:pt x="2484" y="463"/>
                  <a:pt x="3524" y="197"/>
                </a:cubicBezTo>
                <a:cubicBezTo>
                  <a:pt x="4542" y="-65"/>
                  <a:pt x="5753" y="-73"/>
                  <a:pt x="7119" y="217"/>
                </a:cubicBezTo>
                <a:close/>
                <a:moveTo>
                  <a:pt x="14548" y="18822"/>
                </a:moveTo>
                <a:cubicBezTo>
                  <a:pt x="15582" y="18930"/>
                  <a:pt x="16462" y="18795"/>
                  <a:pt x="17170" y="18469"/>
                </a:cubicBezTo>
                <a:cubicBezTo>
                  <a:pt x="17867" y="18143"/>
                  <a:pt x="18392" y="17631"/>
                  <a:pt x="18730" y="16972"/>
                </a:cubicBezTo>
                <a:cubicBezTo>
                  <a:pt x="19067" y="16317"/>
                  <a:pt x="19222" y="15518"/>
                  <a:pt x="19178" y="14613"/>
                </a:cubicBezTo>
                <a:cubicBezTo>
                  <a:pt x="19133" y="13715"/>
                  <a:pt x="18901" y="12711"/>
                  <a:pt x="18453" y="11634"/>
                </a:cubicBezTo>
                <a:cubicBezTo>
                  <a:pt x="18005" y="10562"/>
                  <a:pt x="17391" y="9514"/>
                  <a:pt x="16655" y="8533"/>
                </a:cubicBezTo>
                <a:cubicBezTo>
                  <a:pt x="15920" y="7552"/>
                  <a:pt x="15068" y="6635"/>
                  <a:pt x="14144" y="5824"/>
                </a:cubicBezTo>
                <a:cubicBezTo>
                  <a:pt x="13215" y="5010"/>
                  <a:pt x="12214" y="4303"/>
                  <a:pt x="11190" y="3743"/>
                </a:cubicBezTo>
                <a:cubicBezTo>
                  <a:pt x="10156" y="3183"/>
                  <a:pt x="9094" y="2774"/>
                  <a:pt x="8060" y="2568"/>
                </a:cubicBezTo>
                <a:cubicBezTo>
                  <a:pt x="7009" y="2361"/>
                  <a:pt x="6085" y="2381"/>
                  <a:pt x="5316" y="2600"/>
                </a:cubicBezTo>
                <a:cubicBezTo>
                  <a:pt x="4531" y="2822"/>
                  <a:pt x="3905" y="3247"/>
                  <a:pt x="3463" y="3847"/>
                </a:cubicBezTo>
                <a:cubicBezTo>
                  <a:pt x="3015" y="4450"/>
                  <a:pt x="2755" y="5233"/>
                  <a:pt x="2722" y="6154"/>
                </a:cubicBezTo>
                <a:cubicBezTo>
                  <a:pt x="2683" y="7083"/>
                  <a:pt x="2877" y="8156"/>
                  <a:pt x="3319" y="9323"/>
                </a:cubicBezTo>
                <a:cubicBezTo>
                  <a:pt x="3767" y="10499"/>
                  <a:pt x="4425" y="11658"/>
                  <a:pt x="5239" y="12746"/>
                </a:cubicBezTo>
                <a:cubicBezTo>
                  <a:pt x="6052" y="13831"/>
                  <a:pt x="7009" y="14839"/>
                  <a:pt x="8043" y="15709"/>
                </a:cubicBezTo>
                <a:cubicBezTo>
                  <a:pt x="9072" y="16575"/>
                  <a:pt x="10178" y="17301"/>
                  <a:pt x="11290" y="17842"/>
                </a:cubicBezTo>
                <a:cubicBezTo>
                  <a:pt x="12391" y="18370"/>
                  <a:pt x="13497" y="18715"/>
                  <a:pt x="14548" y="18822"/>
                </a:cubicBezTo>
              </a:path>
            </a:pathLst>
          </a:cu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="" xmlns:a16="http://schemas.microsoft.com/office/drawing/2014/main" id="{2840031D-579A-4B8F-ABC9-7F793DDC8C40}"/>
              </a:ext>
            </a:extLst>
          </p:cNvPr>
          <p:cNvSpPr/>
          <p:nvPr/>
        </p:nvSpPr>
        <p:spPr>
          <a:xfrm>
            <a:off x="1619628" y="2477335"/>
            <a:ext cx="2055560" cy="28545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9" h="21454" extrusionOk="0">
                <a:moveTo>
                  <a:pt x="7276" y="250"/>
                </a:moveTo>
                <a:cubicBezTo>
                  <a:pt x="8616" y="552"/>
                  <a:pt x="9973" y="1107"/>
                  <a:pt x="11292" y="1847"/>
                </a:cubicBezTo>
                <a:cubicBezTo>
                  <a:pt x="12588" y="2579"/>
                  <a:pt x="13854" y="3492"/>
                  <a:pt x="15023" y="4529"/>
                </a:cubicBezTo>
                <a:cubicBezTo>
                  <a:pt x="16184" y="5560"/>
                  <a:pt x="17257" y="6723"/>
                  <a:pt x="18181" y="7961"/>
                </a:cubicBezTo>
                <a:cubicBezTo>
                  <a:pt x="19105" y="9200"/>
                  <a:pt x="19889" y="10523"/>
                  <a:pt x="20462" y="11878"/>
                </a:cubicBezTo>
                <a:cubicBezTo>
                  <a:pt x="21045" y="13246"/>
                  <a:pt x="21365" y="14529"/>
                  <a:pt x="21448" y="15685"/>
                </a:cubicBezTo>
                <a:cubicBezTo>
                  <a:pt x="21531" y="16858"/>
                  <a:pt x="21369" y="17904"/>
                  <a:pt x="20975" y="18774"/>
                </a:cubicBezTo>
                <a:cubicBezTo>
                  <a:pt x="20572" y="19659"/>
                  <a:pt x="19928" y="20365"/>
                  <a:pt x="19061" y="20829"/>
                </a:cubicBezTo>
                <a:cubicBezTo>
                  <a:pt x="18172" y="21301"/>
                  <a:pt x="17051" y="21525"/>
                  <a:pt x="15711" y="21434"/>
                </a:cubicBezTo>
                <a:cubicBezTo>
                  <a:pt x="14344" y="21339"/>
                  <a:pt x="12886" y="20923"/>
                  <a:pt x="11419" y="20246"/>
                </a:cubicBezTo>
                <a:cubicBezTo>
                  <a:pt x="9930" y="19555"/>
                  <a:pt x="8449" y="18604"/>
                  <a:pt x="7061" y="17453"/>
                </a:cubicBezTo>
                <a:cubicBezTo>
                  <a:pt x="5659" y="16294"/>
                  <a:pt x="4367" y="14942"/>
                  <a:pt x="3277" y="13476"/>
                </a:cubicBezTo>
                <a:cubicBezTo>
                  <a:pt x="2186" y="12011"/>
                  <a:pt x="1306" y="10448"/>
                  <a:pt x="728" y="8866"/>
                </a:cubicBezTo>
                <a:cubicBezTo>
                  <a:pt x="154" y="7299"/>
                  <a:pt x="-69" y="5878"/>
                  <a:pt x="19" y="4652"/>
                </a:cubicBezTo>
                <a:cubicBezTo>
                  <a:pt x="106" y="3448"/>
                  <a:pt x="487" y="2443"/>
                  <a:pt x="1122" y="1677"/>
                </a:cubicBezTo>
                <a:cubicBezTo>
                  <a:pt x="1744" y="927"/>
                  <a:pt x="2603" y="414"/>
                  <a:pt x="3658" y="168"/>
                </a:cubicBezTo>
                <a:cubicBezTo>
                  <a:pt x="4692" y="-75"/>
                  <a:pt x="5909" y="-59"/>
                  <a:pt x="7276" y="250"/>
                </a:cubicBezTo>
                <a:close/>
                <a:moveTo>
                  <a:pt x="14791" y="19117"/>
                </a:moveTo>
                <a:cubicBezTo>
                  <a:pt x="15855" y="19212"/>
                  <a:pt x="16757" y="19054"/>
                  <a:pt x="17476" y="18698"/>
                </a:cubicBezTo>
                <a:cubicBezTo>
                  <a:pt x="18181" y="18348"/>
                  <a:pt x="18706" y="17803"/>
                  <a:pt x="19043" y="17110"/>
                </a:cubicBezTo>
                <a:cubicBezTo>
                  <a:pt x="19376" y="16426"/>
                  <a:pt x="19521" y="15597"/>
                  <a:pt x="19464" y="14664"/>
                </a:cubicBezTo>
                <a:cubicBezTo>
                  <a:pt x="19411" y="13741"/>
                  <a:pt x="19162" y="12710"/>
                  <a:pt x="18697" y="11611"/>
                </a:cubicBezTo>
                <a:cubicBezTo>
                  <a:pt x="18238" y="10517"/>
                  <a:pt x="17607" y="9449"/>
                  <a:pt x="16862" y="8450"/>
                </a:cubicBezTo>
                <a:cubicBezTo>
                  <a:pt x="16118" y="7451"/>
                  <a:pt x="15251" y="6515"/>
                  <a:pt x="14313" y="5686"/>
                </a:cubicBezTo>
                <a:cubicBezTo>
                  <a:pt x="13372" y="4851"/>
                  <a:pt x="12351" y="4123"/>
                  <a:pt x="11305" y="3543"/>
                </a:cubicBezTo>
                <a:cubicBezTo>
                  <a:pt x="10249" y="2960"/>
                  <a:pt x="9159" y="2528"/>
                  <a:pt x="8094" y="2301"/>
                </a:cubicBezTo>
                <a:cubicBezTo>
                  <a:pt x="7013" y="2071"/>
                  <a:pt x="6049" y="2077"/>
                  <a:pt x="5243" y="2285"/>
                </a:cubicBezTo>
                <a:cubicBezTo>
                  <a:pt x="4420" y="2500"/>
                  <a:pt x="3754" y="2925"/>
                  <a:pt x="3281" y="3530"/>
                </a:cubicBezTo>
                <a:cubicBezTo>
                  <a:pt x="2800" y="4148"/>
                  <a:pt x="2515" y="4952"/>
                  <a:pt x="2462" y="5906"/>
                </a:cubicBezTo>
                <a:cubicBezTo>
                  <a:pt x="2410" y="6874"/>
                  <a:pt x="2598" y="7990"/>
                  <a:pt x="3054" y="9219"/>
                </a:cubicBezTo>
                <a:cubicBezTo>
                  <a:pt x="3513" y="10454"/>
                  <a:pt x="4205" y="11674"/>
                  <a:pt x="5055" y="12814"/>
                </a:cubicBezTo>
                <a:cubicBezTo>
                  <a:pt x="5905" y="13955"/>
                  <a:pt x="6912" y="15011"/>
                  <a:pt x="7998" y="15922"/>
                </a:cubicBezTo>
                <a:cubicBezTo>
                  <a:pt x="9080" y="16826"/>
                  <a:pt x="10236" y="17583"/>
                  <a:pt x="11401" y="18134"/>
                </a:cubicBezTo>
                <a:cubicBezTo>
                  <a:pt x="12553" y="18679"/>
                  <a:pt x="13705" y="19023"/>
                  <a:pt x="14791" y="19117"/>
                </a:cubicBezTo>
              </a:path>
            </a:pathLst>
          </a:cu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EA96D7FE-4A6C-4268-8EA4-E2CD3D07C85A}"/>
              </a:ext>
            </a:extLst>
          </p:cNvPr>
          <p:cNvGrpSpPr/>
          <p:nvPr/>
        </p:nvGrpSpPr>
        <p:grpSpPr>
          <a:xfrm>
            <a:off x="2501810" y="1806030"/>
            <a:ext cx="2569307" cy="1650870"/>
            <a:chOff x="1757651" y="1256035"/>
            <a:chExt cx="3442630" cy="2212011"/>
          </a:xfrm>
        </p:grpSpPr>
        <p:sp>
          <p:nvSpPr>
            <p:cNvPr id="26" name="Shape">
              <a:extLst>
                <a:ext uri="{FF2B5EF4-FFF2-40B4-BE49-F238E27FC236}">
                  <a16:creationId xmlns="" xmlns:a16="http://schemas.microsoft.com/office/drawing/2014/main" id="{240F0ABD-D030-490B-A381-060B27E31011}"/>
                </a:ext>
              </a:extLst>
            </p:cNvPr>
            <p:cNvSpPr/>
            <p:nvPr/>
          </p:nvSpPr>
          <p:spPr>
            <a:xfrm>
              <a:off x="3757319" y="1256035"/>
              <a:ext cx="1277854" cy="10491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9" h="20679" extrusionOk="0">
                  <a:moveTo>
                    <a:pt x="0" y="20679"/>
                  </a:moveTo>
                  <a:cubicBezTo>
                    <a:pt x="0" y="20679"/>
                    <a:pt x="6874" y="9644"/>
                    <a:pt x="9717" y="5626"/>
                  </a:cubicBezTo>
                  <a:cubicBezTo>
                    <a:pt x="12560" y="1608"/>
                    <a:pt x="15192" y="-921"/>
                    <a:pt x="18291" y="316"/>
                  </a:cubicBezTo>
                  <a:cubicBezTo>
                    <a:pt x="21390" y="1553"/>
                    <a:pt x="21600" y="6502"/>
                    <a:pt x="20201" y="8976"/>
                  </a:cubicBezTo>
                  <a:lnTo>
                    <a:pt x="0" y="206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7" name="Shape">
              <a:extLst>
                <a:ext uri="{FF2B5EF4-FFF2-40B4-BE49-F238E27FC236}">
                  <a16:creationId xmlns="" xmlns:a16="http://schemas.microsoft.com/office/drawing/2014/main" id="{EB0179F8-4999-4071-AD42-F09586D16711}"/>
                </a:ext>
              </a:extLst>
            </p:cNvPr>
            <p:cNvSpPr/>
            <p:nvPr/>
          </p:nvSpPr>
          <p:spPr>
            <a:xfrm>
              <a:off x="1757651" y="3255710"/>
              <a:ext cx="356758" cy="212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3" h="21171" extrusionOk="0">
                  <a:moveTo>
                    <a:pt x="18576" y="513"/>
                  </a:moveTo>
                  <a:lnTo>
                    <a:pt x="0" y="21171"/>
                  </a:lnTo>
                  <a:lnTo>
                    <a:pt x="20304" y="5663"/>
                  </a:lnTo>
                  <a:cubicBezTo>
                    <a:pt x="21201" y="4999"/>
                    <a:pt x="21600" y="3227"/>
                    <a:pt x="21168" y="1731"/>
                  </a:cubicBezTo>
                  <a:cubicBezTo>
                    <a:pt x="20769" y="236"/>
                    <a:pt x="19706" y="-429"/>
                    <a:pt x="18809" y="291"/>
                  </a:cubicBezTo>
                  <a:cubicBezTo>
                    <a:pt x="18742" y="346"/>
                    <a:pt x="18642" y="402"/>
                    <a:pt x="18576" y="51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8" name="Shape">
              <a:extLst>
                <a:ext uri="{FF2B5EF4-FFF2-40B4-BE49-F238E27FC236}">
                  <a16:creationId xmlns="" xmlns:a16="http://schemas.microsoft.com/office/drawing/2014/main" id="{2613AAAB-4F79-4AB2-847C-0A21BF407CCA}"/>
                </a:ext>
              </a:extLst>
            </p:cNvPr>
            <p:cNvSpPr/>
            <p:nvPr/>
          </p:nvSpPr>
          <p:spPr>
            <a:xfrm>
              <a:off x="2035383" y="1700408"/>
              <a:ext cx="2935251" cy="1649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489" extrusionOk="0">
                  <a:moveTo>
                    <a:pt x="376" y="18748"/>
                  </a:moveTo>
                  <a:cubicBezTo>
                    <a:pt x="474" y="18560"/>
                    <a:pt x="592" y="18364"/>
                    <a:pt x="730" y="18169"/>
                  </a:cubicBezTo>
                  <a:cubicBezTo>
                    <a:pt x="840" y="18010"/>
                    <a:pt x="962" y="17843"/>
                    <a:pt x="1096" y="17677"/>
                  </a:cubicBezTo>
                  <a:cubicBezTo>
                    <a:pt x="1210" y="17532"/>
                    <a:pt x="1332" y="17387"/>
                    <a:pt x="1463" y="17242"/>
                  </a:cubicBezTo>
                  <a:cubicBezTo>
                    <a:pt x="1581" y="17112"/>
                    <a:pt x="1703" y="16975"/>
                    <a:pt x="1829" y="16837"/>
                  </a:cubicBezTo>
                  <a:cubicBezTo>
                    <a:pt x="2517" y="16113"/>
                    <a:pt x="3387" y="15303"/>
                    <a:pt x="4425" y="14361"/>
                  </a:cubicBezTo>
                  <a:cubicBezTo>
                    <a:pt x="4539" y="14260"/>
                    <a:pt x="4657" y="14152"/>
                    <a:pt x="4775" y="14043"/>
                  </a:cubicBezTo>
                  <a:cubicBezTo>
                    <a:pt x="4889" y="13942"/>
                    <a:pt x="5007" y="13833"/>
                    <a:pt x="5125" y="13732"/>
                  </a:cubicBezTo>
                  <a:cubicBezTo>
                    <a:pt x="5239" y="13630"/>
                    <a:pt x="5357" y="13522"/>
                    <a:pt x="5475" y="13420"/>
                  </a:cubicBezTo>
                  <a:cubicBezTo>
                    <a:pt x="5589" y="13319"/>
                    <a:pt x="5707" y="13211"/>
                    <a:pt x="5825" y="13109"/>
                  </a:cubicBezTo>
                  <a:cubicBezTo>
                    <a:pt x="5963" y="12986"/>
                    <a:pt x="6106" y="12856"/>
                    <a:pt x="6252" y="12726"/>
                  </a:cubicBezTo>
                  <a:cubicBezTo>
                    <a:pt x="10692" y="8715"/>
                    <a:pt x="21504" y="0"/>
                    <a:pt x="21504" y="0"/>
                  </a:cubicBezTo>
                  <a:cubicBezTo>
                    <a:pt x="21504" y="0"/>
                    <a:pt x="12140" y="10757"/>
                    <a:pt x="8067" y="15064"/>
                  </a:cubicBezTo>
                  <a:cubicBezTo>
                    <a:pt x="7615" y="15541"/>
                    <a:pt x="7168" y="16012"/>
                    <a:pt x="6736" y="16468"/>
                  </a:cubicBezTo>
                  <a:cubicBezTo>
                    <a:pt x="6622" y="16584"/>
                    <a:pt x="6513" y="16707"/>
                    <a:pt x="6403" y="16823"/>
                  </a:cubicBezTo>
                  <a:cubicBezTo>
                    <a:pt x="6289" y="16938"/>
                    <a:pt x="6179" y="17061"/>
                    <a:pt x="6069" y="17170"/>
                  </a:cubicBezTo>
                  <a:cubicBezTo>
                    <a:pt x="5955" y="17286"/>
                    <a:pt x="5845" y="17402"/>
                    <a:pt x="5735" y="17517"/>
                  </a:cubicBezTo>
                  <a:cubicBezTo>
                    <a:pt x="5621" y="17633"/>
                    <a:pt x="5512" y="17749"/>
                    <a:pt x="5398" y="17865"/>
                  </a:cubicBezTo>
                  <a:cubicBezTo>
                    <a:pt x="4445" y="18849"/>
                    <a:pt x="3575" y="19704"/>
                    <a:pt x="2822" y="20333"/>
                  </a:cubicBezTo>
                  <a:cubicBezTo>
                    <a:pt x="2687" y="20442"/>
                    <a:pt x="2561" y="20550"/>
                    <a:pt x="2435" y="20645"/>
                  </a:cubicBezTo>
                  <a:cubicBezTo>
                    <a:pt x="2297" y="20753"/>
                    <a:pt x="2162" y="20854"/>
                    <a:pt x="2036" y="20941"/>
                  </a:cubicBezTo>
                  <a:cubicBezTo>
                    <a:pt x="1890" y="21043"/>
                    <a:pt x="1747" y="21130"/>
                    <a:pt x="1617" y="21209"/>
                  </a:cubicBezTo>
                  <a:cubicBezTo>
                    <a:pt x="1454" y="21296"/>
                    <a:pt x="1304" y="21368"/>
                    <a:pt x="1165" y="21419"/>
                  </a:cubicBezTo>
                  <a:cubicBezTo>
                    <a:pt x="624" y="21600"/>
                    <a:pt x="250" y="21441"/>
                    <a:pt x="91" y="20833"/>
                  </a:cubicBezTo>
                  <a:cubicBezTo>
                    <a:pt x="-96" y="20123"/>
                    <a:pt x="10" y="19457"/>
                    <a:pt x="376" y="1874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29" name="Shape">
              <a:extLst>
                <a:ext uri="{FF2B5EF4-FFF2-40B4-BE49-F238E27FC236}">
                  <a16:creationId xmlns="" xmlns:a16="http://schemas.microsoft.com/office/drawing/2014/main" id="{19EC3D23-AC33-421A-AAAC-E4C6DEB0B40A}"/>
                </a:ext>
              </a:extLst>
            </p:cNvPr>
            <p:cNvSpPr/>
            <p:nvPr/>
          </p:nvSpPr>
          <p:spPr>
            <a:xfrm>
              <a:off x="3701777" y="1533763"/>
              <a:ext cx="1299188" cy="820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4" h="20440" extrusionOk="0">
                  <a:moveTo>
                    <a:pt x="0" y="20440"/>
                  </a:moveTo>
                  <a:cubicBezTo>
                    <a:pt x="0" y="20440"/>
                    <a:pt x="9976" y="4628"/>
                    <a:pt x="13923" y="1734"/>
                  </a:cubicBezTo>
                  <a:cubicBezTo>
                    <a:pt x="17861" y="-1160"/>
                    <a:pt x="20477" y="86"/>
                    <a:pt x="21039" y="1734"/>
                  </a:cubicBezTo>
                  <a:cubicBezTo>
                    <a:pt x="21600" y="3382"/>
                    <a:pt x="20287" y="4365"/>
                    <a:pt x="19391" y="4988"/>
                  </a:cubicBezTo>
                  <a:cubicBezTo>
                    <a:pt x="18495" y="5611"/>
                    <a:pt x="0" y="20440"/>
                    <a:pt x="0" y="2044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0" name="Shape">
              <a:extLst>
                <a:ext uri="{FF2B5EF4-FFF2-40B4-BE49-F238E27FC236}">
                  <a16:creationId xmlns="" xmlns:a16="http://schemas.microsoft.com/office/drawing/2014/main" id="{7245725E-2121-4FC6-8F42-CBFD41E7D346}"/>
                </a:ext>
              </a:extLst>
            </p:cNvPr>
            <p:cNvSpPr/>
            <p:nvPr/>
          </p:nvSpPr>
          <p:spPr>
            <a:xfrm>
              <a:off x="3757319" y="1700403"/>
              <a:ext cx="1442962" cy="731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3" h="21600" extrusionOk="0">
                  <a:moveTo>
                    <a:pt x="0" y="21600"/>
                  </a:moveTo>
                  <a:cubicBezTo>
                    <a:pt x="0" y="21600"/>
                    <a:pt x="13450" y="21600"/>
                    <a:pt x="17343" y="19845"/>
                  </a:cubicBezTo>
                  <a:cubicBezTo>
                    <a:pt x="21236" y="18090"/>
                    <a:pt x="21600" y="8348"/>
                    <a:pt x="20451" y="4363"/>
                  </a:cubicBezTo>
                  <a:cubicBezTo>
                    <a:pt x="19302" y="377"/>
                    <a:pt x="17343" y="0"/>
                    <a:pt x="17343" y="0"/>
                  </a:cubicBezTo>
                  <a:lnTo>
                    <a:pt x="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1" name="Shape">
              <a:extLst>
                <a:ext uri="{FF2B5EF4-FFF2-40B4-BE49-F238E27FC236}">
                  <a16:creationId xmlns="" xmlns:a16="http://schemas.microsoft.com/office/drawing/2014/main" id="{221AB31B-5C5C-41CB-B98E-168320B2F0EA}"/>
                </a:ext>
              </a:extLst>
            </p:cNvPr>
            <p:cNvSpPr/>
            <p:nvPr/>
          </p:nvSpPr>
          <p:spPr>
            <a:xfrm>
              <a:off x="2653958" y="2768289"/>
              <a:ext cx="182486" cy="289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9" h="21600" extrusionOk="0">
                  <a:moveTo>
                    <a:pt x="4127" y="13490"/>
                  </a:moveTo>
                  <a:cubicBezTo>
                    <a:pt x="348" y="8814"/>
                    <a:pt x="-911" y="4179"/>
                    <a:pt x="663" y="1779"/>
                  </a:cubicBezTo>
                  <a:cubicBezTo>
                    <a:pt x="2427" y="1200"/>
                    <a:pt x="4253" y="579"/>
                    <a:pt x="6079" y="0"/>
                  </a:cubicBezTo>
                  <a:cubicBezTo>
                    <a:pt x="4631" y="2400"/>
                    <a:pt x="5890" y="6993"/>
                    <a:pt x="9669" y="11586"/>
                  </a:cubicBezTo>
                  <a:cubicBezTo>
                    <a:pt x="12880" y="15559"/>
                    <a:pt x="17099" y="18497"/>
                    <a:pt x="20689" y="19614"/>
                  </a:cubicBezTo>
                  <a:cubicBezTo>
                    <a:pt x="18926" y="20276"/>
                    <a:pt x="17225" y="20938"/>
                    <a:pt x="15525" y="21600"/>
                  </a:cubicBezTo>
                  <a:cubicBezTo>
                    <a:pt x="11747" y="20566"/>
                    <a:pt x="7402" y="17545"/>
                    <a:pt x="4127" y="1349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2" name="Shape">
              <a:extLst>
                <a:ext uri="{FF2B5EF4-FFF2-40B4-BE49-F238E27FC236}">
                  <a16:creationId xmlns="" xmlns:a16="http://schemas.microsoft.com/office/drawing/2014/main" id="{36E0C69B-B53C-42CB-BB3A-29953B57A4CB}"/>
                </a:ext>
              </a:extLst>
            </p:cNvPr>
            <p:cNvSpPr/>
            <p:nvPr/>
          </p:nvSpPr>
          <p:spPr>
            <a:xfrm>
              <a:off x="2701855" y="2748108"/>
              <a:ext cx="179490" cy="2871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11" h="21600" extrusionOk="0">
                  <a:moveTo>
                    <a:pt x="4239" y="13495"/>
                  </a:moveTo>
                  <a:cubicBezTo>
                    <a:pt x="457" y="8857"/>
                    <a:pt x="-889" y="4261"/>
                    <a:pt x="585" y="1796"/>
                  </a:cubicBezTo>
                  <a:cubicBezTo>
                    <a:pt x="2380" y="1212"/>
                    <a:pt x="4239" y="585"/>
                    <a:pt x="6097" y="0"/>
                  </a:cubicBezTo>
                  <a:cubicBezTo>
                    <a:pt x="4751" y="2465"/>
                    <a:pt x="6033" y="7019"/>
                    <a:pt x="9815" y="11573"/>
                  </a:cubicBezTo>
                  <a:cubicBezTo>
                    <a:pt x="13020" y="15459"/>
                    <a:pt x="17186" y="18425"/>
                    <a:pt x="20711" y="19595"/>
                  </a:cubicBezTo>
                  <a:cubicBezTo>
                    <a:pt x="18916" y="20263"/>
                    <a:pt x="17186" y="20973"/>
                    <a:pt x="15455" y="21600"/>
                  </a:cubicBezTo>
                  <a:cubicBezTo>
                    <a:pt x="11866" y="20514"/>
                    <a:pt x="7572" y="17505"/>
                    <a:pt x="4239" y="1349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3" name="Shape">
              <a:extLst>
                <a:ext uri="{FF2B5EF4-FFF2-40B4-BE49-F238E27FC236}">
                  <a16:creationId xmlns="" xmlns:a16="http://schemas.microsoft.com/office/drawing/2014/main" id="{8D3F046A-B366-4396-9E1C-C8FDD0B9B012}"/>
                </a:ext>
              </a:extLst>
            </p:cNvPr>
            <p:cNvSpPr/>
            <p:nvPr/>
          </p:nvSpPr>
          <p:spPr>
            <a:xfrm>
              <a:off x="2606465" y="2792574"/>
              <a:ext cx="184296" cy="292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3" h="21600" extrusionOk="0">
                  <a:moveTo>
                    <a:pt x="4095" y="13526"/>
                  </a:moveTo>
                  <a:cubicBezTo>
                    <a:pt x="298" y="8812"/>
                    <a:pt x="-947" y="4140"/>
                    <a:pt x="734" y="1803"/>
                  </a:cubicBezTo>
                  <a:cubicBezTo>
                    <a:pt x="2477" y="1230"/>
                    <a:pt x="4282" y="615"/>
                    <a:pt x="6087" y="0"/>
                  </a:cubicBezTo>
                  <a:cubicBezTo>
                    <a:pt x="4531" y="2377"/>
                    <a:pt x="5776" y="6968"/>
                    <a:pt x="9511" y="11599"/>
                  </a:cubicBezTo>
                  <a:cubicBezTo>
                    <a:pt x="12810" y="15616"/>
                    <a:pt x="17105" y="18608"/>
                    <a:pt x="20653" y="19633"/>
                  </a:cubicBezTo>
                  <a:cubicBezTo>
                    <a:pt x="18910" y="20288"/>
                    <a:pt x="17229" y="20944"/>
                    <a:pt x="15486" y="21600"/>
                  </a:cubicBezTo>
                  <a:cubicBezTo>
                    <a:pt x="11876" y="20698"/>
                    <a:pt x="7456" y="17665"/>
                    <a:pt x="4095" y="1352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4" name="Shape">
              <a:extLst>
                <a:ext uri="{FF2B5EF4-FFF2-40B4-BE49-F238E27FC236}">
                  <a16:creationId xmlns="" xmlns:a16="http://schemas.microsoft.com/office/drawing/2014/main" id="{0B7F2496-8D7C-4A5B-A3E7-CFF448BEE59F}"/>
                </a:ext>
              </a:extLst>
            </p:cNvPr>
            <p:cNvSpPr/>
            <p:nvPr/>
          </p:nvSpPr>
          <p:spPr>
            <a:xfrm>
              <a:off x="2743114" y="2728619"/>
              <a:ext cx="177171" cy="284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1" h="21600" extrusionOk="0">
                  <a:moveTo>
                    <a:pt x="4291" y="13500"/>
                  </a:moveTo>
                  <a:cubicBezTo>
                    <a:pt x="517" y="8902"/>
                    <a:pt x="-849" y="4303"/>
                    <a:pt x="517" y="1814"/>
                  </a:cubicBezTo>
                  <a:cubicBezTo>
                    <a:pt x="2339" y="1223"/>
                    <a:pt x="4226" y="591"/>
                    <a:pt x="6112" y="0"/>
                  </a:cubicBezTo>
                  <a:cubicBezTo>
                    <a:pt x="4876" y="2531"/>
                    <a:pt x="6177" y="7045"/>
                    <a:pt x="9951" y="11559"/>
                  </a:cubicBezTo>
                  <a:cubicBezTo>
                    <a:pt x="13074" y="15398"/>
                    <a:pt x="17173" y="18309"/>
                    <a:pt x="20751" y="19533"/>
                  </a:cubicBezTo>
                  <a:cubicBezTo>
                    <a:pt x="18929" y="20208"/>
                    <a:pt x="17173" y="20925"/>
                    <a:pt x="15416" y="21600"/>
                  </a:cubicBezTo>
                  <a:cubicBezTo>
                    <a:pt x="11773" y="20419"/>
                    <a:pt x="7544" y="17423"/>
                    <a:pt x="4291" y="135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5" name="Shape">
              <a:extLst>
                <a:ext uri="{FF2B5EF4-FFF2-40B4-BE49-F238E27FC236}">
                  <a16:creationId xmlns="" xmlns:a16="http://schemas.microsoft.com/office/drawing/2014/main" id="{36B3E7AE-7309-4E82-B851-D5975E6436B9}"/>
                </a:ext>
              </a:extLst>
            </p:cNvPr>
            <p:cNvSpPr/>
            <p:nvPr/>
          </p:nvSpPr>
          <p:spPr>
            <a:xfrm>
              <a:off x="2033002" y="3143611"/>
              <a:ext cx="158277" cy="2098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82" h="20760" extrusionOk="0">
                  <a:moveTo>
                    <a:pt x="6517" y="0"/>
                  </a:moveTo>
                  <a:cubicBezTo>
                    <a:pt x="6798" y="3188"/>
                    <a:pt x="8340" y="7200"/>
                    <a:pt x="11075" y="11267"/>
                  </a:cubicBezTo>
                  <a:cubicBezTo>
                    <a:pt x="13670" y="15115"/>
                    <a:pt x="16896" y="18247"/>
                    <a:pt x="19982" y="20226"/>
                  </a:cubicBezTo>
                  <a:cubicBezTo>
                    <a:pt x="10655" y="21600"/>
                    <a:pt x="4203" y="20391"/>
                    <a:pt x="1468" y="15774"/>
                  </a:cubicBezTo>
                  <a:cubicBezTo>
                    <a:pt x="-1618" y="10443"/>
                    <a:pt x="205" y="5386"/>
                    <a:pt x="651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6" name="Shape">
              <a:extLst>
                <a:ext uri="{FF2B5EF4-FFF2-40B4-BE49-F238E27FC236}">
                  <a16:creationId xmlns="" xmlns:a16="http://schemas.microsoft.com/office/drawing/2014/main" id="{ABE41248-46C9-438F-A3CE-BE75837B3079}"/>
                </a:ext>
              </a:extLst>
            </p:cNvPr>
            <p:cNvSpPr/>
            <p:nvPr/>
          </p:nvSpPr>
          <p:spPr>
            <a:xfrm>
              <a:off x="2082934" y="3100824"/>
              <a:ext cx="168305" cy="2494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34" y="13710"/>
                  </a:moveTo>
                  <a:cubicBezTo>
                    <a:pt x="1853" y="10151"/>
                    <a:pt x="285" y="6639"/>
                    <a:pt x="0" y="3849"/>
                  </a:cubicBezTo>
                  <a:cubicBezTo>
                    <a:pt x="1711" y="2598"/>
                    <a:pt x="3778" y="1299"/>
                    <a:pt x="6202" y="0"/>
                  </a:cubicBezTo>
                  <a:cubicBezTo>
                    <a:pt x="5846" y="2983"/>
                    <a:pt x="7485" y="7216"/>
                    <a:pt x="10836" y="11498"/>
                  </a:cubicBezTo>
                  <a:cubicBezTo>
                    <a:pt x="13972" y="15491"/>
                    <a:pt x="17964" y="18569"/>
                    <a:pt x="21600" y="20205"/>
                  </a:cubicBezTo>
                  <a:cubicBezTo>
                    <a:pt x="18749" y="20782"/>
                    <a:pt x="16111" y="21263"/>
                    <a:pt x="13687" y="21600"/>
                  </a:cubicBezTo>
                  <a:cubicBezTo>
                    <a:pt x="10551" y="19820"/>
                    <a:pt x="7343" y="17078"/>
                    <a:pt x="4634" y="1371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="" xmlns:a16="http://schemas.microsoft.com/office/drawing/2014/main" id="{C587EF5F-1D19-4C06-9A0A-7690183230C3}"/>
                </a:ext>
              </a:extLst>
            </p:cNvPr>
            <p:cNvSpPr/>
            <p:nvPr/>
          </p:nvSpPr>
          <p:spPr>
            <a:xfrm>
              <a:off x="2129718" y="3062838"/>
              <a:ext cx="178125" cy="270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2" h="21600" extrusionOk="0">
                  <a:moveTo>
                    <a:pt x="4364" y="13616"/>
                  </a:moveTo>
                  <a:cubicBezTo>
                    <a:pt x="1241" y="9669"/>
                    <a:pt x="-288" y="5766"/>
                    <a:pt x="44" y="3016"/>
                  </a:cubicBezTo>
                  <a:cubicBezTo>
                    <a:pt x="1839" y="2040"/>
                    <a:pt x="3833" y="1020"/>
                    <a:pt x="6026" y="0"/>
                  </a:cubicBezTo>
                  <a:cubicBezTo>
                    <a:pt x="5162" y="2705"/>
                    <a:pt x="6624" y="7141"/>
                    <a:pt x="10146" y="11532"/>
                  </a:cubicBezTo>
                  <a:cubicBezTo>
                    <a:pt x="13403" y="15612"/>
                    <a:pt x="17657" y="18673"/>
                    <a:pt x="21312" y="19959"/>
                  </a:cubicBezTo>
                  <a:cubicBezTo>
                    <a:pt x="18919" y="20580"/>
                    <a:pt x="16593" y="21112"/>
                    <a:pt x="14466" y="21600"/>
                  </a:cubicBezTo>
                  <a:cubicBezTo>
                    <a:pt x="11010" y="20137"/>
                    <a:pt x="7289" y="17298"/>
                    <a:pt x="4364" y="1361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8" name="Shape">
              <a:extLst>
                <a:ext uri="{FF2B5EF4-FFF2-40B4-BE49-F238E27FC236}">
                  <a16:creationId xmlns="" xmlns:a16="http://schemas.microsoft.com/office/drawing/2014/main" id="{321DC271-3A6B-4984-8DB3-640B89E658DD}"/>
                </a:ext>
              </a:extLst>
            </p:cNvPr>
            <p:cNvSpPr/>
            <p:nvPr/>
          </p:nvSpPr>
          <p:spPr>
            <a:xfrm>
              <a:off x="2214371" y="3004017"/>
              <a:ext cx="188211" cy="29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1" h="21600" extrusionOk="0">
                  <a:moveTo>
                    <a:pt x="4051" y="13577"/>
                  </a:moveTo>
                  <a:cubicBezTo>
                    <a:pt x="543" y="9134"/>
                    <a:pt x="-749" y="4731"/>
                    <a:pt x="420" y="2304"/>
                  </a:cubicBezTo>
                  <a:cubicBezTo>
                    <a:pt x="2205" y="1563"/>
                    <a:pt x="4051" y="782"/>
                    <a:pt x="5959" y="0"/>
                  </a:cubicBezTo>
                  <a:cubicBezTo>
                    <a:pt x="4420" y="2345"/>
                    <a:pt x="5651" y="6994"/>
                    <a:pt x="9343" y="11643"/>
                  </a:cubicBezTo>
                  <a:cubicBezTo>
                    <a:pt x="12728" y="15881"/>
                    <a:pt x="17220" y="18967"/>
                    <a:pt x="20851" y="19831"/>
                  </a:cubicBezTo>
                  <a:cubicBezTo>
                    <a:pt x="18820" y="20448"/>
                    <a:pt x="16913" y="21065"/>
                    <a:pt x="15005" y="21600"/>
                  </a:cubicBezTo>
                  <a:cubicBezTo>
                    <a:pt x="11559" y="20613"/>
                    <a:pt x="7251" y="17650"/>
                    <a:pt x="4051" y="1357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39" name="Shape">
              <a:extLst>
                <a:ext uri="{FF2B5EF4-FFF2-40B4-BE49-F238E27FC236}">
                  <a16:creationId xmlns="" xmlns:a16="http://schemas.microsoft.com/office/drawing/2014/main" id="{7ED6016F-D4DC-4A2C-92E5-7FE73EFC5588}"/>
                </a:ext>
              </a:extLst>
            </p:cNvPr>
            <p:cNvSpPr/>
            <p:nvPr/>
          </p:nvSpPr>
          <p:spPr>
            <a:xfrm>
              <a:off x="2258122" y="2814515"/>
              <a:ext cx="492434" cy="4582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3" h="21600" extrusionOk="0">
                  <a:moveTo>
                    <a:pt x="1571" y="16364"/>
                  </a:moveTo>
                  <a:cubicBezTo>
                    <a:pt x="132" y="13405"/>
                    <a:pt x="-347" y="10447"/>
                    <a:pt x="252" y="8954"/>
                  </a:cubicBezTo>
                  <a:cubicBezTo>
                    <a:pt x="4304" y="6336"/>
                    <a:pt x="9434" y="3404"/>
                    <a:pt x="15547" y="0"/>
                  </a:cubicBezTo>
                  <a:cubicBezTo>
                    <a:pt x="14900" y="1492"/>
                    <a:pt x="15380" y="4477"/>
                    <a:pt x="16842" y="7488"/>
                  </a:cubicBezTo>
                  <a:cubicBezTo>
                    <a:pt x="18136" y="10132"/>
                    <a:pt x="19839" y="12070"/>
                    <a:pt x="21253" y="12672"/>
                  </a:cubicBezTo>
                  <a:cubicBezTo>
                    <a:pt x="15643" y="16233"/>
                    <a:pt x="10513" y="19322"/>
                    <a:pt x="6078" y="21600"/>
                  </a:cubicBezTo>
                  <a:cubicBezTo>
                    <a:pt x="4639" y="21024"/>
                    <a:pt x="2889" y="19061"/>
                    <a:pt x="1571" y="1636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40" name="Shape">
              <a:extLst>
                <a:ext uri="{FF2B5EF4-FFF2-40B4-BE49-F238E27FC236}">
                  <a16:creationId xmlns="" xmlns:a16="http://schemas.microsoft.com/office/drawing/2014/main" id="{5DCF47F2-473C-4750-B8C0-0423D4226E4B}"/>
                </a:ext>
              </a:extLst>
            </p:cNvPr>
            <p:cNvSpPr/>
            <p:nvPr/>
          </p:nvSpPr>
          <p:spPr>
            <a:xfrm>
              <a:off x="2173401" y="3033453"/>
              <a:ext cx="184778" cy="283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9" h="21600" extrusionOk="0">
                  <a:moveTo>
                    <a:pt x="4146" y="13526"/>
                  </a:moveTo>
                  <a:cubicBezTo>
                    <a:pt x="798" y="9299"/>
                    <a:pt x="-591" y="5115"/>
                    <a:pt x="230" y="2536"/>
                  </a:cubicBezTo>
                  <a:cubicBezTo>
                    <a:pt x="1998" y="1691"/>
                    <a:pt x="3893" y="845"/>
                    <a:pt x="5914" y="0"/>
                  </a:cubicBezTo>
                  <a:cubicBezTo>
                    <a:pt x="4651" y="2536"/>
                    <a:pt x="5977" y="7059"/>
                    <a:pt x="9641" y="11582"/>
                  </a:cubicBezTo>
                  <a:cubicBezTo>
                    <a:pt x="12988" y="15724"/>
                    <a:pt x="17346" y="18810"/>
                    <a:pt x="21009" y="19867"/>
                  </a:cubicBezTo>
                  <a:cubicBezTo>
                    <a:pt x="18862" y="20501"/>
                    <a:pt x="16777" y="21093"/>
                    <a:pt x="14820" y="21600"/>
                  </a:cubicBezTo>
                  <a:cubicBezTo>
                    <a:pt x="11283" y="20374"/>
                    <a:pt x="7241" y="17415"/>
                    <a:pt x="4146" y="1352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92AD740A-F290-4252-8DF6-2CA6FA22502A}"/>
              </a:ext>
            </a:extLst>
          </p:cNvPr>
          <p:cNvGrpSpPr/>
          <p:nvPr/>
        </p:nvGrpSpPr>
        <p:grpSpPr>
          <a:xfrm rot="2000927">
            <a:off x="2966292" y="3014310"/>
            <a:ext cx="2569307" cy="1650870"/>
            <a:chOff x="1757651" y="1256035"/>
            <a:chExt cx="3442630" cy="2212011"/>
          </a:xfrm>
        </p:grpSpPr>
        <p:sp>
          <p:nvSpPr>
            <p:cNvPr id="58" name="Shape">
              <a:extLst>
                <a:ext uri="{FF2B5EF4-FFF2-40B4-BE49-F238E27FC236}">
                  <a16:creationId xmlns="" xmlns:a16="http://schemas.microsoft.com/office/drawing/2014/main" id="{64D38288-3CBD-4DAD-A586-1CEE47D53F50}"/>
                </a:ext>
              </a:extLst>
            </p:cNvPr>
            <p:cNvSpPr/>
            <p:nvPr/>
          </p:nvSpPr>
          <p:spPr>
            <a:xfrm>
              <a:off x="3757319" y="1256035"/>
              <a:ext cx="1277854" cy="10491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9" h="20679" extrusionOk="0">
                  <a:moveTo>
                    <a:pt x="0" y="20679"/>
                  </a:moveTo>
                  <a:cubicBezTo>
                    <a:pt x="0" y="20679"/>
                    <a:pt x="6874" y="9644"/>
                    <a:pt x="9717" y="5626"/>
                  </a:cubicBezTo>
                  <a:cubicBezTo>
                    <a:pt x="12560" y="1608"/>
                    <a:pt x="15192" y="-921"/>
                    <a:pt x="18291" y="316"/>
                  </a:cubicBezTo>
                  <a:cubicBezTo>
                    <a:pt x="21390" y="1553"/>
                    <a:pt x="21600" y="6502"/>
                    <a:pt x="20201" y="8976"/>
                  </a:cubicBezTo>
                  <a:lnTo>
                    <a:pt x="0" y="20679"/>
                  </a:ln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59" name="Shape">
              <a:extLst>
                <a:ext uri="{FF2B5EF4-FFF2-40B4-BE49-F238E27FC236}">
                  <a16:creationId xmlns="" xmlns:a16="http://schemas.microsoft.com/office/drawing/2014/main" id="{4322E6D2-EFE1-4723-B4C6-E6BFBE2A23D8}"/>
                </a:ext>
              </a:extLst>
            </p:cNvPr>
            <p:cNvSpPr/>
            <p:nvPr/>
          </p:nvSpPr>
          <p:spPr>
            <a:xfrm>
              <a:off x="1757651" y="3255710"/>
              <a:ext cx="356758" cy="212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3" h="21171" extrusionOk="0">
                  <a:moveTo>
                    <a:pt x="18576" y="513"/>
                  </a:moveTo>
                  <a:lnTo>
                    <a:pt x="0" y="21171"/>
                  </a:lnTo>
                  <a:lnTo>
                    <a:pt x="20304" y="5663"/>
                  </a:lnTo>
                  <a:cubicBezTo>
                    <a:pt x="21201" y="4999"/>
                    <a:pt x="21600" y="3227"/>
                    <a:pt x="21168" y="1731"/>
                  </a:cubicBezTo>
                  <a:cubicBezTo>
                    <a:pt x="20769" y="236"/>
                    <a:pt x="19706" y="-429"/>
                    <a:pt x="18809" y="291"/>
                  </a:cubicBezTo>
                  <a:cubicBezTo>
                    <a:pt x="18742" y="346"/>
                    <a:pt x="18642" y="402"/>
                    <a:pt x="18576" y="513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="" xmlns:a16="http://schemas.microsoft.com/office/drawing/2014/main" id="{6F848762-2A5B-4C1F-9E1E-13C3A42EA661}"/>
                </a:ext>
              </a:extLst>
            </p:cNvPr>
            <p:cNvSpPr/>
            <p:nvPr/>
          </p:nvSpPr>
          <p:spPr>
            <a:xfrm>
              <a:off x="2035383" y="1700408"/>
              <a:ext cx="2935251" cy="1649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489" extrusionOk="0">
                  <a:moveTo>
                    <a:pt x="376" y="18748"/>
                  </a:moveTo>
                  <a:cubicBezTo>
                    <a:pt x="474" y="18560"/>
                    <a:pt x="592" y="18364"/>
                    <a:pt x="730" y="18169"/>
                  </a:cubicBezTo>
                  <a:cubicBezTo>
                    <a:pt x="840" y="18010"/>
                    <a:pt x="962" y="17843"/>
                    <a:pt x="1096" y="17677"/>
                  </a:cubicBezTo>
                  <a:cubicBezTo>
                    <a:pt x="1210" y="17532"/>
                    <a:pt x="1332" y="17387"/>
                    <a:pt x="1463" y="17242"/>
                  </a:cubicBezTo>
                  <a:cubicBezTo>
                    <a:pt x="1581" y="17112"/>
                    <a:pt x="1703" y="16975"/>
                    <a:pt x="1829" y="16837"/>
                  </a:cubicBezTo>
                  <a:cubicBezTo>
                    <a:pt x="2517" y="16113"/>
                    <a:pt x="3387" y="15303"/>
                    <a:pt x="4425" y="14361"/>
                  </a:cubicBezTo>
                  <a:cubicBezTo>
                    <a:pt x="4539" y="14260"/>
                    <a:pt x="4657" y="14152"/>
                    <a:pt x="4775" y="14043"/>
                  </a:cubicBezTo>
                  <a:cubicBezTo>
                    <a:pt x="4889" y="13942"/>
                    <a:pt x="5007" y="13833"/>
                    <a:pt x="5125" y="13732"/>
                  </a:cubicBezTo>
                  <a:cubicBezTo>
                    <a:pt x="5239" y="13630"/>
                    <a:pt x="5357" y="13522"/>
                    <a:pt x="5475" y="13420"/>
                  </a:cubicBezTo>
                  <a:cubicBezTo>
                    <a:pt x="5589" y="13319"/>
                    <a:pt x="5707" y="13211"/>
                    <a:pt x="5825" y="13109"/>
                  </a:cubicBezTo>
                  <a:cubicBezTo>
                    <a:pt x="5963" y="12986"/>
                    <a:pt x="6106" y="12856"/>
                    <a:pt x="6252" y="12726"/>
                  </a:cubicBezTo>
                  <a:cubicBezTo>
                    <a:pt x="10692" y="8715"/>
                    <a:pt x="21504" y="0"/>
                    <a:pt x="21504" y="0"/>
                  </a:cubicBezTo>
                  <a:cubicBezTo>
                    <a:pt x="21504" y="0"/>
                    <a:pt x="12140" y="10757"/>
                    <a:pt x="8067" y="15064"/>
                  </a:cubicBezTo>
                  <a:cubicBezTo>
                    <a:pt x="7615" y="15541"/>
                    <a:pt x="7168" y="16012"/>
                    <a:pt x="6736" y="16468"/>
                  </a:cubicBezTo>
                  <a:cubicBezTo>
                    <a:pt x="6622" y="16584"/>
                    <a:pt x="6513" y="16707"/>
                    <a:pt x="6403" y="16823"/>
                  </a:cubicBezTo>
                  <a:cubicBezTo>
                    <a:pt x="6289" y="16938"/>
                    <a:pt x="6179" y="17061"/>
                    <a:pt x="6069" y="17170"/>
                  </a:cubicBezTo>
                  <a:cubicBezTo>
                    <a:pt x="5955" y="17286"/>
                    <a:pt x="5845" y="17402"/>
                    <a:pt x="5735" y="17517"/>
                  </a:cubicBezTo>
                  <a:cubicBezTo>
                    <a:pt x="5621" y="17633"/>
                    <a:pt x="5512" y="17749"/>
                    <a:pt x="5398" y="17865"/>
                  </a:cubicBezTo>
                  <a:cubicBezTo>
                    <a:pt x="4445" y="18849"/>
                    <a:pt x="3575" y="19704"/>
                    <a:pt x="2822" y="20333"/>
                  </a:cubicBezTo>
                  <a:cubicBezTo>
                    <a:pt x="2687" y="20442"/>
                    <a:pt x="2561" y="20550"/>
                    <a:pt x="2435" y="20645"/>
                  </a:cubicBezTo>
                  <a:cubicBezTo>
                    <a:pt x="2297" y="20753"/>
                    <a:pt x="2162" y="20854"/>
                    <a:pt x="2036" y="20941"/>
                  </a:cubicBezTo>
                  <a:cubicBezTo>
                    <a:pt x="1890" y="21043"/>
                    <a:pt x="1747" y="21130"/>
                    <a:pt x="1617" y="21209"/>
                  </a:cubicBezTo>
                  <a:cubicBezTo>
                    <a:pt x="1454" y="21296"/>
                    <a:pt x="1304" y="21368"/>
                    <a:pt x="1165" y="21419"/>
                  </a:cubicBezTo>
                  <a:cubicBezTo>
                    <a:pt x="624" y="21600"/>
                    <a:pt x="250" y="21441"/>
                    <a:pt x="91" y="20833"/>
                  </a:cubicBezTo>
                  <a:cubicBezTo>
                    <a:pt x="-96" y="20123"/>
                    <a:pt x="10" y="19457"/>
                    <a:pt x="376" y="18748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="" xmlns:a16="http://schemas.microsoft.com/office/drawing/2014/main" id="{B3BB5CA5-D5BC-4FF8-BE36-3829956AEC30}"/>
                </a:ext>
              </a:extLst>
            </p:cNvPr>
            <p:cNvSpPr/>
            <p:nvPr/>
          </p:nvSpPr>
          <p:spPr>
            <a:xfrm>
              <a:off x="3701777" y="1533763"/>
              <a:ext cx="1299188" cy="8200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4" h="20440" extrusionOk="0">
                  <a:moveTo>
                    <a:pt x="0" y="20440"/>
                  </a:moveTo>
                  <a:cubicBezTo>
                    <a:pt x="0" y="20440"/>
                    <a:pt x="9976" y="4628"/>
                    <a:pt x="13923" y="1734"/>
                  </a:cubicBezTo>
                  <a:cubicBezTo>
                    <a:pt x="17861" y="-1160"/>
                    <a:pt x="20477" y="86"/>
                    <a:pt x="21039" y="1734"/>
                  </a:cubicBezTo>
                  <a:cubicBezTo>
                    <a:pt x="21600" y="3382"/>
                    <a:pt x="20287" y="4365"/>
                    <a:pt x="19391" y="4988"/>
                  </a:cubicBezTo>
                  <a:cubicBezTo>
                    <a:pt x="18495" y="5611"/>
                    <a:pt x="0" y="20440"/>
                    <a:pt x="0" y="2044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="" xmlns:a16="http://schemas.microsoft.com/office/drawing/2014/main" id="{51BA9194-8261-497A-9844-5CD93541C9E6}"/>
                </a:ext>
              </a:extLst>
            </p:cNvPr>
            <p:cNvSpPr/>
            <p:nvPr/>
          </p:nvSpPr>
          <p:spPr>
            <a:xfrm>
              <a:off x="3757319" y="1700403"/>
              <a:ext cx="1442962" cy="731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23" h="21600" extrusionOk="0">
                  <a:moveTo>
                    <a:pt x="0" y="21600"/>
                  </a:moveTo>
                  <a:cubicBezTo>
                    <a:pt x="0" y="21600"/>
                    <a:pt x="13450" y="21600"/>
                    <a:pt x="17343" y="19845"/>
                  </a:cubicBezTo>
                  <a:cubicBezTo>
                    <a:pt x="21236" y="18090"/>
                    <a:pt x="21600" y="8348"/>
                    <a:pt x="20451" y="4363"/>
                  </a:cubicBezTo>
                  <a:cubicBezTo>
                    <a:pt x="19302" y="377"/>
                    <a:pt x="17343" y="0"/>
                    <a:pt x="17343" y="0"/>
                  </a:cubicBezTo>
                  <a:lnTo>
                    <a:pt x="0" y="21600"/>
                  </a:ln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3" name="Shape">
              <a:extLst>
                <a:ext uri="{FF2B5EF4-FFF2-40B4-BE49-F238E27FC236}">
                  <a16:creationId xmlns="" xmlns:a16="http://schemas.microsoft.com/office/drawing/2014/main" id="{282C9190-BAD0-4733-89A2-B20902BE9F3C}"/>
                </a:ext>
              </a:extLst>
            </p:cNvPr>
            <p:cNvSpPr/>
            <p:nvPr/>
          </p:nvSpPr>
          <p:spPr>
            <a:xfrm>
              <a:off x="2653958" y="2768289"/>
              <a:ext cx="182486" cy="289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9" h="21600" extrusionOk="0">
                  <a:moveTo>
                    <a:pt x="4127" y="13490"/>
                  </a:moveTo>
                  <a:cubicBezTo>
                    <a:pt x="348" y="8814"/>
                    <a:pt x="-911" y="4179"/>
                    <a:pt x="663" y="1779"/>
                  </a:cubicBezTo>
                  <a:cubicBezTo>
                    <a:pt x="2427" y="1200"/>
                    <a:pt x="4253" y="579"/>
                    <a:pt x="6079" y="0"/>
                  </a:cubicBezTo>
                  <a:cubicBezTo>
                    <a:pt x="4631" y="2400"/>
                    <a:pt x="5890" y="6993"/>
                    <a:pt x="9669" y="11586"/>
                  </a:cubicBezTo>
                  <a:cubicBezTo>
                    <a:pt x="12880" y="15559"/>
                    <a:pt x="17099" y="18497"/>
                    <a:pt x="20689" y="19614"/>
                  </a:cubicBezTo>
                  <a:cubicBezTo>
                    <a:pt x="18926" y="20276"/>
                    <a:pt x="17225" y="20938"/>
                    <a:pt x="15525" y="21600"/>
                  </a:cubicBezTo>
                  <a:cubicBezTo>
                    <a:pt x="11747" y="20566"/>
                    <a:pt x="7402" y="17545"/>
                    <a:pt x="4127" y="1349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4" name="Shape">
              <a:extLst>
                <a:ext uri="{FF2B5EF4-FFF2-40B4-BE49-F238E27FC236}">
                  <a16:creationId xmlns="" xmlns:a16="http://schemas.microsoft.com/office/drawing/2014/main" id="{82EA9CEE-8CC1-4499-B2DA-4E66476821BA}"/>
                </a:ext>
              </a:extLst>
            </p:cNvPr>
            <p:cNvSpPr/>
            <p:nvPr/>
          </p:nvSpPr>
          <p:spPr>
            <a:xfrm>
              <a:off x="2701855" y="2748108"/>
              <a:ext cx="179490" cy="2871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11" h="21600" extrusionOk="0">
                  <a:moveTo>
                    <a:pt x="4239" y="13495"/>
                  </a:moveTo>
                  <a:cubicBezTo>
                    <a:pt x="457" y="8857"/>
                    <a:pt x="-889" y="4261"/>
                    <a:pt x="585" y="1796"/>
                  </a:cubicBezTo>
                  <a:cubicBezTo>
                    <a:pt x="2380" y="1212"/>
                    <a:pt x="4239" y="585"/>
                    <a:pt x="6097" y="0"/>
                  </a:cubicBezTo>
                  <a:cubicBezTo>
                    <a:pt x="4751" y="2465"/>
                    <a:pt x="6033" y="7019"/>
                    <a:pt x="9815" y="11573"/>
                  </a:cubicBezTo>
                  <a:cubicBezTo>
                    <a:pt x="13020" y="15459"/>
                    <a:pt x="17186" y="18425"/>
                    <a:pt x="20711" y="19595"/>
                  </a:cubicBezTo>
                  <a:cubicBezTo>
                    <a:pt x="18916" y="20263"/>
                    <a:pt x="17186" y="20973"/>
                    <a:pt x="15455" y="21600"/>
                  </a:cubicBezTo>
                  <a:cubicBezTo>
                    <a:pt x="11866" y="20514"/>
                    <a:pt x="7572" y="17505"/>
                    <a:pt x="4239" y="13495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5" name="Shape">
              <a:extLst>
                <a:ext uri="{FF2B5EF4-FFF2-40B4-BE49-F238E27FC236}">
                  <a16:creationId xmlns="" xmlns:a16="http://schemas.microsoft.com/office/drawing/2014/main" id="{D49E0C23-C13B-48B7-B498-0CC59986971E}"/>
                </a:ext>
              </a:extLst>
            </p:cNvPr>
            <p:cNvSpPr/>
            <p:nvPr/>
          </p:nvSpPr>
          <p:spPr>
            <a:xfrm>
              <a:off x="2606465" y="2792574"/>
              <a:ext cx="184296" cy="292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3" h="21600" extrusionOk="0">
                  <a:moveTo>
                    <a:pt x="4095" y="13526"/>
                  </a:moveTo>
                  <a:cubicBezTo>
                    <a:pt x="298" y="8812"/>
                    <a:pt x="-947" y="4140"/>
                    <a:pt x="734" y="1803"/>
                  </a:cubicBezTo>
                  <a:cubicBezTo>
                    <a:pt x="2477" y="1230"/>
                    <a:pt x="4282" y="615"/>
                    <a:pt x="6087" y="0"/>
                  </a:cubicBezTo>
                  <a:cubicBezTo>
                    <a:pt x="4531" y="2377"/>
                    <a:pt x="5776" y="6968"/>
                    <a:pt x="9511" y="11599"/>
                  </a:cubicBezTo>
                  <a:cubicBezTo>
                    <a:pt x="12810" y="15616"/>
                    <a:pt x="17105" y="18608"/>
                    <a:pt x="20653" y="19633"/>
                  </a:cubicBezTo>
                  <a:cubicBezTo>
                    <a:pt x="18910" y="20288"/>
                    <a:pt x="17229" y="20944"/>
                    <a:pt x="15486" y="21600"/>
                  </a:cubicBezTo>
                  <a:cubicBezTo>
                    <a:pt x="11876" y="20698"/>
                    <a:pt x="7456" y="17665"/>
                    <a:pt x="4095" y="1352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6" name="Shape">
              <a:extLst>
                <a:ext uri="{FF2B5EF4-FFF2-40B4-BE49-F238E27FC236}">
                  <a16:creationId xmlns="" xmlns:a16="http://schemas.microsoft.com/office/drawing/2014/main" id="{AE67461D-B507-4B11-97C1-E958BF77E250}"/>
                </a:ext>
              </a:extLst>
            </p:cNvPr>
            <p:cNvSpPr/>
            <p:nvPr/>
          </p:nvSpPr>
          <p:spPr>
            <a:xfrm>
              <a:off x="2743114" y="2728619"/>
              <a:ext cx="177171" cy="284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1" h="21600" extrusionOk="0">
                  <a:moveTo>
                    <a:pt x="4291" y="13500"/>
                  </a:moveTo>
                  <a:cubicBezTo>
                    <a:pt x="517" y="8902"/>
                    <a:pt x="-849" y="4303"/>
                    <a:pt x="517" y="1814"/>
                  </a:cubicBezTo>
                  <a:cubicBezTo>
                    <a:pt x="2339" y="1223"/>
                    <a:pt x="4226" y="591"/>
                    <a:pt x="6112" y="0"/>
                  </a:cubicBezTo>
                  <a:cubicBezTo>
                    <a:pt x="4876" y="2531"/>
                    <a:pt x="6177" y="7045"/>
                    <a:pt x="9951" y="11559"/>
                  </a:cubicBezTo>
                  <a:cubicBezTo>
                    <a:pt x="13074" y="15398"/>
                    <a:pt x="17173" y="18309"/>
                    <a:pt x="20751" y="19533"/>
                  </a:cubicBezTo>
                  <a:cubicBezTo>
                    <a:pt x="18929" y="20208"/>
                    <a:pt x="17173" y="20925"/>
                    <a:pt x="15416" y="21600"/>
                  </a:cubicBezTo>
                  <a:cubicBezTo>
                    <a:pt x="11773" y="20419"/>
                    <a:pt x="7544" y="17423"/>
                    <a:pt x="4291" y="1350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7" name="Shape">
              <a:extLst>
                <a:ext uri="{FF2B5EF4-FFF2-40B4-BE49-F238E27FC236}">
                  <a16:creationId xmlns="" xmlns:a16="http://schemas.microsoft.com/office/drawing/2014/main" id="{C602B88D-A508-4431-8E67-56585737769D}"/>
                </a:ext>
              </a:extLst>
            </p:cNvPr>
            <p:cNvSpPr/>
            <p:nvPr/>
          </p:nvSpPr>
          <p:spPr>
            <a:xfrm>
              <a:off x="2033002" y="3143611"/>
              <a:ext cx="158277" cy="2098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82" h="20760" extrusionOk="0">
                  <a:moveTo>
                    <a:pt x="6517" y="0"/>
                  </a:moveTo>
                  <a:cubicBezTo>
                    <a:pt x="6798" y="3188"/>
                    <a:pt x="8340" y="7200"/>
                    <a:pt x="11075" y="11267"/>
                  </a:cubicBezTo>
                  <a:cubicBezTo>
                    <a:pt x="13670" y="15115"/>
                    <a:pt x="16896" y="18247"/>
                    <a:pt x="19982" y="20226"/>
                  </a:cubicBezTo>
                  <a:cubicBezTo>
                    <a:pt x="10655" y="21600"/>
                    <a:pt x="4203" y="20391"/>
                    <a:pt x="1468" y="15774"/>
                  </a:cubicBezTo>
                  <a:cubicBezTo>
                    <a:pt x="-1618" y="10443"/>
                    <a:pt x="205" y="5386"/>
                    <a:pt x="6517" y="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8" name="Shape">
              <a:extLst>
                <a:ext uri="{FF2B5EF4-FFF2-40B4-BE49-F238E27FC236}">
                  <a16:creationId xmlns="" xmlns:a16="http://schemas.microsoft.com/office/drawing/2014/main" id="{9A78D68D-A775-4BAB-9730-6CC60DD9C3A6}"/>
                </a:ext>
              </a:extLst>
            </p:cNvPr>
            <p:cNvSpPr/>
            <p:nvPr/>
          </p:nvSpPr>
          <p:spPr>
            <a:xfrm>
              <a:off x="2082934" y="3100824"/>
              <a:ext cx="168305" cy="2494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34" y="13710"/>
                  </a:moveTo>
                  <a:cubicBezTo>
                    <a:pt x="1853" y="10151"/>
                    <a:pt x="285" y="6639"/>
                    <a:pt x="0" y="3849"/>
                  </a:cubicBezTo>
                  <a:cubicBezTo>
                    <a:pt x="1711" y="2598"/>
                    <a:pt x="3778" y="1299"/>
                    <a:pt x="6202" y="0"/>
                  </a:cubicBezTo>
                  <a:cubicBezTo>
                    <a:pt x="5846" y="2983"/>
                    <a:pt x="7485" y="7216"/>
                    <a:pt x="10836" y="11498"/>
                  </a:cubicBezTo>
                  <a:cubicBezTo>
                    <a:pt x="13972" y="15491"/>
                    <a:pt x="17964" y="18569"/>
                    <a:pt x="21600" y="20205"/>
                  </a:cubicBezTo>
                  <a:cubicBezTo>
                    <a:pt x="18749" y="20782"/>
                    <a:pt x="16111" y="21263"/>
                    <a:pt x="13687" y="21600"/>
                  </a:cubicBezTo>
                  <a:cubicBezTo>
                    <a:pt x="10551" y="19820"/>
                    <a:pt x="7343" y="17078"/>
                    <a:pt x="4634" y="13710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69" name="Shape">
              <a:extLst>
                <a:ext uri="{FF2B5EF4-FFF2-40B4-BE49-F238E27FC236}">
                  <a16:creationId xmlns="" xmlns:a16="http://schemas.microsoft.com/office/drawing/2014/main" id="{A366A5D3-899D-4A28-961E-48E2D1108E41}"/>
                </a:ext>
              </a:extLst>
            </p:cNvPr>
            <p:cNvSpPr/>
            <p:nvPr/>
          </p:nvSpPr>
          <p:spPr>
            <a:xfrm>
              <a:off x="2129718" y="3062838"/>
              <a:ext cx="178125" cy="270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2" h="21600" extrusionOk="0">
                  <a:moveTo>
                    <a:pt x="4364" y="13616"/>
                  </a:moveTo>
                  <a:cubicBezTo>
                    <a:pt x="1241" y="9669"/>
                    <a:pt x="-288" y="5766"/>
                    <a:pt x="44" y="3016"/>
                  </a:cubicBezTo>
                  <a:cubicBezTo>
                    <a:pt x="1839" y="2040"/>
                    <a:pt x="3833" y="1020"/>
                    <a:pt x="6026" y="0"/>
                  </a:cubicBezTo>
                  <a:cubicBezTo>
                    <a:pt x="5162" y="2705"/>
                    <a:pt x="6624" y="7141"/>
                    <a:pt x="10146" y="11532"/>
                  </a:cubicBezTo>
                  <a:cubicBezTo>
                    <a:pt x="13403" y="15612"/>
                    <a:pt x="17657" y="18673"/>
                    <a:pt x="21312" y="19959"/>
                  </a:cubicBezTo>
                  <a:cubicBezTo>
                    <a:pt x="18919" y="20580"/>
                    <a:pt x="16593" y="21112"/>
                    <a:pt x="14466" y="21600"/>
                  </a:cubicBezTo>
                  <a:cubicBezTo>
                    <a:pt x="11010" y="20137"/>
                    <a:pt x="7289" y="17298"/>
                    <a:pt x="4364" y="1361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0" name="Shape">
              <a:extLst>
                <a:ext uri="{FF2B5EF4-FFF2-40B4-BE49-F238E27FC236}">
                  <a16:creationId xmlns="" xmlns:a16="http://schemas.microsoft.com/office/drawing/2014/main" id="{1EEC8F81-4D41-4CD7-93EE-C6B091968CCE}"/>
                </a:ext>
              </a:extLst>
            </p:cNvPr>
            <p:cNvSpPr/>
            <p:nvPr/>
          </p:nvSpPr>
          <p:spPr>
            <a:xfrm>
              <a:off x="2214371" y="3004017"/>
              <a:ext cx="188211" cy="29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1" h="21600" extrusionOk="0">
                  <a:moveTo>
                    <a:pt x="4051" y="13577"/>
                  </a:moveTo>
                  <a:cubicBezTo>
                    <a:pt x="543" y="9134"/>
                    <a:pt x="-749" y="4731"/>
                    <a:pt x="420" y="2304"/>
                  </a:cubicBezTo>
                  <a:cubicBezTo>
                    <a:pt x="2205" y="1563"/>
                    <a:pt x="4051" y="782"/>
                    <a:pt x="5959" y="0"/>
                  </a:cubicBezTo>
                  <a:cubicBezTo>
                    <a:pt x="4420" y="2345"/>
                    <a:pt x="5651" y="6994"/>
                    <a:pt x="9343" y="11643"/>
                  </a:cubicBezTo>
                  <a:cubicBezTo>
                    <a:pt x="12728" y="15881"/>
                    <a:pt x="17220" y="18967"/>
                    <a:pt x="20851" y="19831"/>
                  </a:cubicBezTo>
                  <a:cubicBezTo>
                    <a:pt x="18820" y="20448"/>
                    <a:pt x="16913" y="21065"/>
                    <a:pt x="15005" y="21600"/>
                  </a:cubicBezTo>
                  <a:cubicBezTo>
                    <a:pt x="11559" y="20613"/>
                    <a:pt x="7251" y="17650"/>
                    <a:pt x="4051" y="13577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1" name="Shape">
              <a:extLst>
                <a:ext uri="{FF2B5EF4-FFF2-40B4-BE49-F238E27FC236}">
                  <a16:creationId xmlns="" xmlns:a16="http://schemas.microsoft.com/office/drawing/2014/main" id="{E8726405-5847-41AC-BC70-69B9BC8AB133}"/>
                </a:ext>
              </a:extLst>
            </p:cNvPr>
            <p:cNvSpPr/>
            <p:nvPr/>
          </p:nvSpPr>
          <p:spPr>
            <a:xfrm>
              <a:off x="2258122" y="2814515"/>
              <a:ext cx="492434" cy="4582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3" h="21600" extrusionOk="0">
                  <a:moveTo>
                    <a:pt x="1571" y="16364"/>
                  </a:moveTo>
                  <a:cubicBezTo>
                    <a:pt x="132" y="13405"/>
                    <a:pt x="-347" y="10447"/>
                    <a:pt x="252" y="8954"/>
                  </a:cubicBezTo>
                  <a:cubicBezTo>
                    <a:pt x="4304" y="6336"/>
                    <a:pt x="9434" y="3404"/>
                    <a:pt x="15547" y="0"/>
                  </a:cubicBezTo>
                  <a:cubicBezTo>
                    <a:pt x="14900" y="1492"/>
                    <a:pt x="15380" y="4477"/>
                    <a:pt x="16842" y="7488"/>
                  </a:cubicBezTo>
                  <a:cubicBezTo>
                    <a:pt x="18136" y="10132"/>
                    <a:pt x="19839" y="12070"/>
                    <a:pt x="21253" y="12672"/>
                  </a:cubicBezTo>
                  <a:cubicBezTo>
                    <a:pt x="15643" y="16233"/>
                    <a:pt x="10513" y="19322"/>
                    <a:pt x="6078" y="21600"/>
                  </a:cubicBezTo>
                  <a:cubicBezTo>
                    <a:pt x="4639" y="21024"/>
                    <a:pt x="2889" y="19061"/>
                    <a:pt x="1571" y="16364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72" name="Shape">
              <a:extLst>
                <a:ext uri="{FF2B5EF4-FFF2-40B4-BE49-F238E27FC236}">
                  <a16:creationId xmlns="" xmlns:a16="http://schemas.microsoft.com/office/drawing/2014/main" id="{49E9DF29-C7A0-4D12-BFB7-983DB6AE6FAD}"/>
                </a:ext>
              </a:extLst>
            </p:cNvPr>
            <p:cNvSpPr/>
            <p:nvPr/>
          </p:nvSpPr>
          <p:spPr>
            <a:xfrm>
              <a:off x="2173401" y="3033453"/>
              <a:ext cx="184778" cy="283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9" h="21600" extrusionOk="0">
                  <a:moveTo>
                    <a:pt x="4146" y="13526"/>
                  </a:moveTo>
                  <a:cubicBezTo>
                    <a:pt x="798" y="9299"/>
                    <a:pt x="-591" y="5115"/>
                    <a:pt x="230" y="2536"/>
                  </a:cubicBezTo>
                  <a:cubicBezTo>
                    <a:pt x="1998" y="1691"/>
                    <a:pt x="3893" y="845"/>
                    <a:pt x="5914" y="0"/>
                  </a:cubicBezTo>
                  <a:cubicBezTo>
                    <a:pt x="4651" y="2536"/>
                    <a:pt x="5977" y="7059"/>
                    <a:pt x="9641" y="11582"/>
                  </a:cubicBezTo>
                  <a:cubicBezTo>
                    <a:pt x="12988" y="15724"/>
                    <a:pt x="17346" y="18810"/>
                    <a:pt x="21009" y="19867"/>
                  </a:cubicBezTo>
                  <a:cubicBezTo>
                    <a:pt x="18862" y="20501"/>
                    <a:pt x="16777" y="21093"/>
                    <a:pt x="14820" y="21600"/>
                  </a:cubicBezTo>
                  <a:cubicBezTo>
                    <a:pt x="11283" y="20374"/>
                    <a:pt x="7241" y="17415"/>
                    <a:pt x="4146" y="13526"/>
                  </a:cubicBezTo>
                  <a:close/>
                </a:path>
              </a:pathLst>
            </a:cu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8AA49767-BC83-42FE-AE35-F521072D98EF}"/>
              </a:ext>
            </a:extLst>
          </p:cNvPr>
          <p:cNvSpPr/>
          <p:nvPr/>
        </p:nvSpPr>
        <p:spPr>
          <a:xfrm rot="2700000" flipH="1">
            <a:off x="6406972" y="3623526"/>
            <a:ext cx="694152" cy="69415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>
              <a:solidFill>
                <a:srgbClr val="272D36"/>
              </a:solidFill>
            </a:endParaRPr>
          </a:p>
        </p:txBody>
      </p:sp>
      <p:sp>
        <p:nvSpPr>
          <p:cNvPr id="100" name="Graphic 55" descr="Puzzle">
            <a:extLst>
              <a:ext uri="{FF2B5EF4-FFF2-40B4-BE49-F238E27FC236}">
                <a16:creationId xmlns="" xmlns:a16="http://schemas.microsoft.com/office/drawing/2014/main" id="{E3603AFB-778C-4F54-BB5E-75BCD15F51A4}"/>
              </a:ext>
            </a:extLst>
          </p:cNvPr>
          <p:cNvSpPr/>
          <p:nvPr/>
        </p:nvSpPr>
        <p:spPr>
          <a:xfrm>
            <a:off x="6525448" y="3730572"/>
            <a:ext cx="457200" cy="457200"/>
          </a:xfrm>
          <a:custGeom>
            <a:avLst/>
            <a:gdLst>
              <a:gd name="connsiteX0" fmla="*/ 295466 w 457200"/>
              <a:gd name="connsiteY0" fmla="*/ 346900 h 457200"/>
              <a:gd name="connsiteX1" fmla="*/ 270891 w 457200"/>
              <a:gd name="connsiteY1" fmla="*/ 271463 h 457200"/>
              <a:gd name="connsiteX2" fmla="*/ 274892 w 457200"/>
              <a:gd name="connsiteY2" fmla="*/ 267462 h 457200"/>
              <a:gd name="connsiteX3" fmla="*/ 351473 w 457200"/>
              <a:gd name="connsiteY3" fmla="*/ 290894 h 457200"/>
              <a:gd name="connsiteX4" fmla="*/ 392049 w 457200"/>
              <a:gd name="connsiteY4" fmla="*/ 323469 h 457200"/>
              <a:gd name="connsiteX5" fmla="*/ 457200 w 457200"/>
              <a:gd name="connsiteY5" fmla="*/ 258318 h 457200"/>
              <a:gd name="connsiteX6" fmla="*/ 360045 w 457200"/>
              <a:gd name="connsiteY6" fmla="*/ 161163 h 457200"/>
              <a:gd name="connsiteX7" fmla="*/ 392620 w 457200"/>
              <a:gd name="connsiteY7" fmla="*/ 120587 h 457200"/>
              <a:gd name="connsiteX8" fmla="*/ 416052 w 457200"/>
              <a:gd name="connsiteY8" fmla="*/ 44006 h 457200"/>
              <a:gd name="connsiteX9" fmla="*/ 412052 w 457200"/>
              <a:gd name="connsiteY9" fmla="*/ 40005 h 457200"/>
              <a:gd name="connsiteX10" fmla="*/ 336614 w 457200"/>
              <a:gd name="connsiteY10" fmla="*/ 64579 h 457200"/>
              <a:gd name="connsiteX11" fmla="*/ 296037 w 457200"/>
              <a:gd name="connsiteY11" fmla="*/ 97155 h 457200"/>
              <a:gd name="connsiteX12" fmla="*/ 198882 w 457200"/>
              <a:gd name="connsiteY12" fmla="*/ 0 h 457200"/>
              <a:gd name="connsiteX13" fmla="*/ 133160 w 457200"/>
              <a:gd name="connsiteY13" fmla="*/ 65151 h 457200"/>
              <a:gd name="connsiteX14" fmla="*/ 165735 w 457200"/>
              <a:gd name="connsiteY14" fmla="*/ 105728 h 457200"/>
              <a:gd name="connsiteX15" fmla="*/ 190310 w 457200"/>
              <a:gd name="connsiteY15" fmla="*/ 181166 h 457200"/>
              <a:gd name="connsiteX16" fmla="*/ 186309 w 457200"/>
              <a:gd name="connsiteY16" fmla="*/ 185166 h 457200"/>
              <a:gd name="connsiteX17" fmla="*/ 109728 w 457200"/>
              <a:gd name="connsiteY17" fmla="*/ 161735 h 457200"/>
              <a:gd name="connsiteX18" fmla="*/ 69152 w 457200"/>
              <a:gd name="connsiteY18" fmla="*/ 129159 h 457200"/>
              <a:gd name="connsiteX19" fmla="*/ 0 w 457200"/>
              <a:gd name="connsiteY19" fmla="*/ 198882 h 457200"/>
              <a:gd name="connsiteX20" fmla="*/ 97155 w 457200"/>
              <a:gd name="connsiteY20" fmla="*/ 296037 h 457200"/>
              <a:gd name="connsiteX21" fmla="*/ 64579 w 457200"/>
              <a:gd name="connsiteY21" fmla="*/ 336614 h 457200"/>
              <a:gd name="connsiteX22" fmla="*/ 41148 w 457200"/>
              <a:gd name="connsiteY22" fmla="*/ 413195 h 457200"/>
              <a:gd name="connsiteX23" fmla="*/ 45148 w 457200"/>
              <a:gd name="connsiteY23" fmla="*/ 417195 h 457200"/>
              <a:gd name="connsiteX24" fmla="*/ 120587 w 457200"/>
              <a:gd name="connsiteY24" fmla="*/ 392620 h 457200"/>
              <a:gd name="connsiteX25" fmla="*/ 161163 w 457200"/>
              <a:gd name="connsiteY25" fmla="*/ 360045 h 457200"/>
              <a:gd name="connsiteX26" fmla="*/ 258318 w 457200"/>
              <a:gd name="connsiteY26" fmla="*/ 457200 h 457200"/>
              <a:gd name="connsiteX27" fmla="*/ 328041 w 457200"/>
              <a:gd name="connsiteY27" fmla="*/ 387477 h 457200"/>
              <a:gd name="connsiteX28" fmla="*/ 295466 w 457200"/>
              <a:gd name="connsiteY28" fmla="*/ 3469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57200" h="457200">
                <a:moveTo>
                  <a:pt x="295466" y="346900"/>
                </a:moveTo>
                <a:cubicBezTo>
                  <a:pt x="257746" y="348044"/>
                  <a:pt x="244031" y="299466"/>
                  <a:pt x="270891" y="271463"/>
                </a:cubicBezTo>
                <a:lnTo>
                  <a:pt x="274892" y="267462"/>
                </a:lnTo>
                <a:cubicBezTo>
                  <a:pt x="302895" y="240601"/>
                  <a:pt x="352615" y="253175"/>
                  <a:pt x="351473" y="290894"/>
                </a:cubicBezTo>
                <a:cubicBezTo>
                  <a:pt x="350901" y="312611"/>
                  <a:pt x="376619" y="338900"/>
                  <a:pt x="392049" y="323469"/>
                </a:cubicBezTo>
                <a:lnTo>
                  <a:pt x="457200" y="258318"/>
                </a:lnTo>
                <a:lnTo>
                  <a:pt x="360045" y="161163"/>
                </a:lnTo>
                <a:cubicBezTo>
                  <a:pt x="344615" y="145733"/>
                  <a:pt x="370904" y="120015"/>
                  <a:pt x="392620" y="120587"/>
                </a:cubicBezTo>
                <a:cubicBezTo>
                  <a:pt x="430340" y="121729"/>
                  <a:pt x="442913" y="72009"/>
                  <a:pt x="416052" y="44006"/>
                </a:cubicBezTo>
                <a:lnTo>
                  <a:pt x="412052" y="40005"/>
                </a:lnTo>
                <a:cubicBezTo>
                  <a:pt x="384048" y="13145"/>
                  <a:pt x="335470" y="26860"/>
                  <a:pt x="336614" y="64579"/>
                </a:cubicBezTo>
                <a:cubicBezTo>
                  <a:pt x="337185" y="86297"/>
                  <a:pt x="311468" y="112586"/>
                  <a:pt x="296037" y="97155"/>
                </a:cubicBezTo>
                <a:lnTo>
                  <a:pt x="198882" y="0"/>
                </a:lnTo>
                <a:lnTo>
                  <a:pt x="133160" y="65151"/>
                </a:lnTo>
                <a:cubicBezTo>
                  <a:pt x="117729" y="80582"/>
                  <a:pt x="144018" y="106299"/>
                  <a:pt x="165735" y="105728"/>
                </a:cubicBezTo>
                <a:cubicBezTo>
                  <a:pt x="203454" y="104584"/>
                  <a:pt x="217170" y="153162"/>
                  <a:pt x="190310" y="181166"/>
                </a:cubicBezTo>
                <a:lnTo>
                  <a:pt x="186309" y="185166"/>
                </a:lnTo>
                <a:cubicBezTo>
                  <a:pt x="158306" y="212026"/>
                  <a:pt x="108585" y="199454"/>
                  <a:pt x="109728" y="161735"/>
                </a:cubicBezTo>
                <a:cubicBezTo>
                  <a:pt x="110299" y="140018"/>
                  <a:pt x="84582" y="113729"/>
                  <a:pt x="69152" y="129159"/>
                </a:cubicBezTo>
                <a:lnTo>
                  <a:pt x="0" y="198882"/>
                </a:lnTo>
                <a:lnTo>
                  <a:pt x="97155" y="296037"/>
                </a:lnTo>
                <a:cubicBezTo>
                  <a:pt x="112586" y="311468"/>
                  <a:pt x="86297" y="337185"/>
                  <a:pt x="64579" y="336614"/>
                </a:cubicBezTo>
                <a:cubicBezTo>
                  <a:pt x="26860" y="335470"/>
                  <a:pt x="14288" y="385191"/>
                  <a:pt x="41148" y="413195"/>
                </a:cubicBezTo>
                <a:lnTo>
                  <a:pt x="45148" y="417195"/>
                </a:lnTo>
                <a:cubicBezTo>
                  <a:pt x="73152" y="444055"/>
                  <a:pt x="121729" y="430340"/>
                  <a:pt x="120587" y="392620"/>
                </a:cubicBezTo>
                <a:cubicBezTo>
                  <a:pt x="120015" y="370904"/>
                  <a:pt x="145733" y="344615"/>
                  <a:pt x="161163" y="360045"/>
                </a:cubicBezTo>
                <a:lnTo>
                  <a:pt x="258318" y="457200"/>
                </a:lnTo>
                <a:lnTo>
                  <a:pt x="328041" y="387477"/>
                </a:lnTo>
                <a:cubicBezTo>
                  <a:pt x="343472" y="372047"/>
                  <a:pt x="317754" y="346329"/>
                  <a:pt x="295466" y="346900"/>
                </a:cubicBezTo>
                <a:close/>
              </a:path>
            </a:pathLst>
          </a:custGeom>
          <a:solidFill>
            <a:srgbClr val="000000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BF2B4760-A6AD-442F-BE2C-11BAC62D96B1}"/>
              </a:ext>
            </a:extLst>
          </p:cNvPr>
          <p:cNvSpPr txBox="1"/>
          <p:nvPr/>
        </p:nvSpPr>
        <p:spPr>
          <a:xfrm>
            <a:off x="6449665" y="2299887"/>
            <a:ext cx="5356125" cy="101564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742315" lvl="1" indent="-285750">
              <a:buFont typeface="Arial" panose="020B0604020202020204" pitchFamily="34" charset="0"/>
              <a:buChar char="•"/>
            </a:pPr>
            <a:r>
              <a:rPr lang="en-IN" sz="2000" dirty="0" smtClean="0">
                <a:latin typeface="Times New Roman"/>
                <a:cs typeface="Times New Roman"/>
              </a:rPr>
              <a:t>Full Stack Developer by gaining all the skills required to work with front end and back end web technologies.</a:t>
            </a:r>
            <a:endParaRPr lang="en-IN" sz="2000" dirty="0">
              <a:latin typeface="Times New Roman"/>
              <a:cs typeface="Times New Roman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5EFF3B86-2402-43EF-8278-BF73B0C117A7}"/>
              </a:ext>
            </a:extLst>
          </p:cNvPr>
          <p:cNvSpPr/>
          <p:nvPr/>
        </p:nvSpPr>
        <p:spPr>
          <a:xfrm rot="2700000" flipH="1">
            <a:off x="6293228" y="2201126"/>
            <a:ext cx="694152" cy="694152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>
              <a:solidFill>
                <a:srgbClr val="272D36"/>
              </a:solidFill>
            </a:endParaRPr>
          </a:p>
        </p:txBody>
      </p:sp>
      <p:sp>
        <p:nvSpPr>
          <p:cNvPr id="103" name="Freeform: Shape 77">
            <a:extLst>
              <a:ext uri="{FF2B5EF4-FFF2-40B4-BE49-F238E27FC236}">
                <a16:creationId xmlns="" xmlns:a16="http://schemas.microsoft.com/office/drawing/2014/main" id="{998A0988-0283-4478-8DB9-D70299FCD738}"/>
              </a:ext>
            </a:extLst>
          </p:cNvPr>
          <p:cNvSpPr/>
          <p:nvPr/>
        </p:nvSpPr>
        <p:spPr>
          <a:xfrm>
            <a:off x="6410163" y="2329510"/>
            <a:ext cx="460282" cy="458722"/>
          </a:xfrm>
          <a:custGeom>
            <a:avLst/>
            <a:gdLst>
              <a:gd name="connsiteX0" fmla="*/ 105125 w 460282"/>
              <a:gd name="connsiteY0" fmla="*/ 319288 h 458722"/>
              <a:gd name="connsiteX1" fmla="*/ 121119 w 460282"/>
              <a:gd name="connsiteY1" fmla="*/ 333352 h 458722"/>
              <a:gd name="connsiteX2" fmla="*/ 126834 w 460282"/>
              <a:gd name="connsiteY2" fmla="*/ 360212 h 458722"/>
              <a:gd name="connsiteX3" fmla="*/ 55968 w 460282"/>
              <a:gd name="connsiteY3" fmla="*/ 398503 h 458722"/>
              <a:gd name="connsiteX4" fmla="*/ 94258 w 460282"/>
              <a:gd name="connsiteY4" fmla="*/ 327637 h 458722"/>
              <a:gd name="connsiteX5" fmla="*/ 105125 w 460282"/>
              <a:gd name="connsiteY5" fmla="*/ 319288 h 458722"/>
              <a:gd name="connsiteX6" fmla="*/ 290854 w 460282"/>
              <a:gd name="connsiteY6" fmla="*/ 315064 h 458722"/>
              <a:gd name="connsiteX7" fmla="*/ 299998 w 460282"/>
              <a:gd name="connsiteY7" fmla="*/ 338495 h 458722"/>
              <a:gd name="connsiteX8" fmla="*/ 295426 w 460282"/>
              <a:gd name="connsiteY8" fmla="*/ 361355 h 458722"/>
              <a:gd name="connsiteX9" fmla="*/ 204558 w 460282"/>
              <a:gd name="connsiteY9" fmla="*/ 452224 h 458722"/>
              <a:gd name="connsiteX10" fmla="*/ 168553 w 460282"/>
              <a:gd name="connsiteY10" fmla="*/ 432793 h 458722"/>
              <a:gd name="connsiteX11" fmla="*/ 186270 w 460282"/>
              <a:gd name="connsiteY11" fmla="*/ 351640 h 458722"/>
              <a:gd name="connsiteX12" fmla="*/ 290854 w 460282"/>
              <a:gd name="connsiteY12" fmla="*/ 315064 h 458722"/>
              <a:gd name="connsiteX13" fmla="*/ 119975 w 460282"/>
              <a:gd name="connsiteY13" fmla="*/ 158473 h 458722"/>
              <a:gd name="connsiteX14" fmla="*/ 139406 w 460282"/>
              <a:gd name="connsiteY14" fmla="*/ 165903 h 458722"/>
              <a:gd name="connsiteX15" fmla="*/ 101687 w 460282"/>
              <a:gd name="connsiteY15" fmla="*/ 272773 h 458722"/>
              <a:gd name="connsiteX16" fmla="*/ 25678 w 460282"/>
              <a:gd name="connsiteY16" fmla="*/ 289918 h 458722"/>
              <a:gd name="connsiteX17" fmla="*/ 6247 w 460282"/>
              <a:gd name="connsiteY17" fmla="*/ 253914 h 458722"/>
              <a:gd name="connsiteX18" fmla="*/ 97115 w 460282"/>
              <a:gd name="connsiteY18" fmla="*/ 163045 h 458722"/>
              <a:gd name="connsiteX19" fmla="*/ 119975 w 460282"/>
              <a:gd name="connsiteY19" fmla="*/ 158473 h 458722"/>
              <a:gd name="connsiteX20" fmla="*/ 329216 w 460282"/>
              <a:gd name="connsiteY20" fmla="*/ 90893 h 458722"/>
              <a:gd name="connsiteX21" fmla="*/ 305141 w 460282"/>
              <a:gd name="connsiteY21" fmla="*/ 100752 h 458722"/>
              <a:gd name="connsiteX22" fmla="*/ 305141 w 460282"/>
              <a:gd name="connsiteY22" fmla="*/ 149329 h 458722"/>
              <a:gd name="connsiteX23" fmla="*/ 353719 w 460282"/>
              <a:gd name="connsiteY23" fmla="*/ 149329 h 458722"/>
              <a:gd name="connsiteX24" fmla="*/ 353719 w 460282"/>
              <a:gd name="connsiteY24" fmla="*/ 100752 h 458722"/>
              <a:gd name="connsiteX25" fmla="*/ 329216 w 460282"/>
              <a:gd name="connsiteY25" fmla="*/ 90893 h 458722"/>
              <a:gd name="connsiteX26" fmla="*/ 324573 w 460282"/>
              <a:gd name="connsiteY26" fmla="*/ 25885 h 458722"/>
              <a:gd name="connsiteX27" fmla="*/ 385723 w 460282"/>
              <a:gd name="connsiteY27" fmla="*/ 68176 h 458722"/>
              <a:gd name="connsiteX28" fmla="*/ 429157 w 460282"/>
              <a:gd name="connsiteY28" fmla="*/ 131041 h 458722"/>
              <a:gd name="connsiteX29" fmla="*/ 354862 w 460282"/>
              <a:gd name="connsiteY29" fmla="*/ 239626 h 458722"/>
              <a:gd name="connsiteX30" fmla="*/ 157123 w 460282"/>
              <a:gd name="connsiteY30" fmla="*/ 332781 h 458722"/>
              <a:gd name="connsiteX31" fmla="*/ 121690 w 460282"/>
              <a:gd name="connsiteY31" fmla="*/ 297348 h 458722"/>
              <a:gd name="connsiteX32" fmla="*/ 215416 w 460282"/>
              <a:gd name="connsiteY32" fmla="*/ 100180 h 458722"/>
              <a:gd name="connsiteX33" fmla="*/ 324573 w 460282"/>
              <a:gd name="connsiteY33" fmla="*/ 25885 h 458722"/>
              <a:gd name="connsiteX34" fmla="*/ 444401 w 460282"/>
              <a:gd name="connsiteY34" fmla="*/ 7 h 458722"/>
              <a:gd name="connsiteX35" fmla="*/ 457733 w 460282"/>
              <a:gd name="connsiteY35" fmla="*/ 3025 h 458722"/>
              <a:gd name="connsiteX36" fmla="*/ 440016 w 460282"/>
              <a:gd name="connsiteY36" fmla="*/ 100752 h 458722"/>
              <a:gd name="connsiteX37" fmla="*/ 402297 w 460282"/>
              <a:gd name="connsiteY37" fmla="*/ 52746 h 458722"/>
              <a:gd name="connsiteX38" fmla="*/ 355434 w 460282"/>
              <a:gd name="connsiteY38" fmla="*/ 15598 h 458722"/>
              <a:gd name="connsiteX39" fmla="*/ 444401 w 460282"/>
              <a:gd name="connsiteY39" fmla="*/ 7 h 458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60282" h="458722">
                <a:moveTo>
                  <a:pt x="105125" y="319288"/>
                </a:moveTo>
                <a:cubicBezTo>
                  <a:pt x="113189" y="316100"/>
                  <a:pt x="114261" y="326494"/>
                  <a:pt x="121119" y="333352"/>
                </a:cubicBezTo>
                <a:cubicBezTo>
                  <a:pt x="130263" y="341924"/>
                  <a:pt x="145693" y="340781"/>
                  <a:pt x="126834" y="360212"/>
                </a:cubicBezTo>
                <a:cubicBezTo>
                  <a:pt x="107974" y="379072"/>
                  <a:pt x="65112" y="407647"/>
                  <a:pt x="55968" y="398503"/>
                </a:cubicBezTo>
                <a:cubicBezTo>
                  <a:pt x="47395" y="389359"/>
                  <a:pt x="75399" y="346496"/>
                  <a:pt x="94258" y="327637"/>
                </a:cubicBezTo>
                <a:cubicBezTo>
                  <a:pt x="98973" y="322922"/>
                  <a:pt x="102438" y="320350"/>
                  <a:pt x="105125" y="319288"/>
                </a:cubicBezTo>
                <a:close/>
                <a:moveTo>
                  <a:pt x="290854" y="315064"/>
                </a:moveTo>
                <a:lnTo>
                  <a:pt x="299998" y="338495"/>
                </a:lnTo>
                <a:cubicBezTo>
                  <a:pt x="303427" y="346497"/>
                  <a:pt x="301141" y="355640"/>
                  <a:pt x="295426" y="361355"/>
                </a:cubicBezTo>
                <a:lnTo>
                  <a:pt x="204558" y="452224"/>
                </a:lnTo>
                <a:cubicBezTo>
                  <a:pt x="189127" y="467654"/>
                  <a:pt x="163981" y="453367"/>
                  <a:pt x="168553" y="432793"/>
                </a:cubicBezTo>
                <a:lnTo>
                  <a:pt x="186270" y="351640"/>
                </a:lnTo>
                <a:cubicBezTo>
                  <a:pt x="215988" y="345925"/>
                  <a:pt x="252564" y="335067"/>
                  <a:pt x="290854" y="315064"/>
                </a:cubicBezTo>
                <a:close/>
                <a:moveTo>
                  <a:pt x="119975" y="158473"/>
                </a:moveTo>
                <a:lnTo>
                  <a:pt x="139406" y="165903"/>
                </a:lnTo>
                <a:cubicBezTo>
                  <a:pt x="118261" y="205908"/>
                  <a:pt x="107974" y="244198"/>
                  <a:pt x="101687" y="272773"/>
                </a:cubicBezTo>
                <a:lnTo>
                  <a:pt x="25678" y="289918"/>
                </a:lnTo>
                <a:cubicBezTo>
                  <a:pt x="5104" y="294490"/>
                  <a:pt x="-8612" y="268773"/>
                  <a:pt x="6247" y="253914"/>
                </a:cubicBezTo>
                <a:lnTo>
                  <a:pt x="97115" y="163045"/>
                </a:lnTo>
                <a:cubicBezTo>
                  <a:pt x="103402" y="157330"/>
                  <a:pt x="111974" y="155616"/>
                  <a:pt x="119975" y="158473"/>
                </a:cubicBezTo>
                <a:close/>
                <a:moveTo>
                  <a:pt x="329216" y="90893"/>
                </a:moveTo>
                <a:cubicBezTo>
                  <a:pt x="320429" y="90893"/>
                  <a:pt x="311713" y="94180"/>
                  <a:pt x="305141" y="100752"/>
                </a:cubicBezTo>
                <a:cubicBezTo>
                  <a:pt x="291997" y="114468"/>
                  <a:pt x="291997" y="136185"/>
                  <a:pt x="305141" y="149329"/>
                </a:cubicBezTo>
                <a:cubicBezTo>
                  <a:pt x="318858" y="162474"/>
                  <a:pt x="340575" y="162474"/>
                  <a:pt x="353719" y="149329"/>
                </a:cubicBezTo>
                <a:cubicBezTo>
                  <a:pt x="366864" y="136185"/>
                  <a:pt x="366864" y="114468"/>
                  <a:pt x="353719" y="100752"/>
                </a:cubicBezTo>
                <a:cubicBezTo>
                  <a:pt x="346861" y="94180"/>
                  <a:pt x="338003" y="90893"/>
                  <a:pt x="329216" y="90893"/>
                </a:cubicBezTo>
                <a:close/>
                <a:moveTo>
                  <a:pt x="324573" y="25885"/>
                </a:moveTo>
                <a:cubicBezTo>
                  <a:pt x="343432" y="33315"/>
                  <a:pt x="365149" y="48173"/>
                  <a:pt x="385723" y="68176"/>
                </a:cubicBezTo>
                <a:cubicBezTo>
                  <a:pt x="406869" y="89893"/>
                  <a:pt x="421728" y="112182"/>
                  <a:pt x="429157" y="131041"/>
                </a:cubicBezTo>
                <a:cubicBezTo>
                  <a:pt x="415441" y="164760"/>
                  <a:pt x="392010" y="202479"/>
                  <a:pt x="354862" y="239626"/>
                </a:cubicBezTo>
                <a:cubicBezTo>
                  <a:pt x="286854" y="307635"/>
                  <a:pt x="203986" y="327066"/>
                  <a:pt x="157123" y="332781"/>
                </a:cubicBezTo>
                <a:lnTo>
                  <a:pt x="121690" y="297348"/>
                </a:lnTo>
                <a:cubicBezTo>
                  <a:pt x="127405" y="250485"/>
                  <a:pt x="147408" y="168189"/>
                  <a:pt x="215416" y="100180"/>
                </a:cubicBezTo>
                <a:cubicBezTo>
                  <a:pt x="252564" y="63033"/>
                  <a:pt x="290854" y="39601"/>
                  <a:pt x="324573" y="25885"/>
                </a:cubicBezTo>
                <a:close/>
                <a:moveTo>
                  <a:pt x="444401" y="7"/>
                </a:moveTo>
                <a:cubicBezTo>
                  <a:pt x="451018" y="96"/>
                  <a:pt x="455733" y="1025"/>
                  <a:pt x="457733" y="3025"/>
                </a:cubicBezTo>
                <a:cubicBezTo>
                  <a:pt x="466305" y="11026"/>
                  <a:pt x="451446" y="56746"/>
                  <a:pt x="440016" y="100752"/>
                </a:cubicBezTo>
                <a:cubicBezTo>
                  <a:pt x="430872" y="84750"/>
                  <a:pt x="418299" y="68748"/>
                  <a:pt x="402297" y="52746"/>
                </a:cubicBezTo>
                <a:cubicBezTo>
                  <a:pt x="386867" y="37315"/>
                  <a:pt x="370864" y="24742"/>
                  <a:pt x="355434" y="15598"/>
                </a:cubicBezTo>
                <a:cubicBezTo>
                  <a:pt x="387582" y="7026"/>
                  <a:pt x="424550" y="-261"/>
                  <a:pt x="444401" y="7"/>
                </a:cubicBezTo>
                <a:close/>
              </a:path>
            </a:pathLst>
          </a:custGeom>
          <a:solidFill>
            <a:schemeClr val="bg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9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2567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 txBox="1">
            <a:spLocks/>
          </p:cNvSpPr>
          <p:nvPr/>
        </p:nvSpPr>
        <p:spPr>
          <a:xfrm>
            <a:off x="691140" y="0"/>
            <a:ext cx="10515600" cy="7390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lgerian" pitchFamily="82" charset="0"/>
                <a:ea typeface="+mj-ea"/>
                <a:cs typeface="+mj-cs"/>
              </a:rPr>
              <a:t>               WHERE DO WE STAND ?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lgerian" pitchFamily="82" charset="0"/>
              <a:ea typeface="+mj-ea"/>
              <a:cs typeface="+mj-cs"/>
            </a:endParaRPr>
          </a:p>
        </p:txBody>
      </p:sp>
      <p:sp>
        <p:nvSpPr>
          <p:cNvPr id="16" name="Freeform: Shape 78">
            <a:extLst>
              <a:ext uri="{FF2B5EF4-FFF2-40B4-BE49-F238E27FC236}">
                <a16:creationId xmlns="" xmlns:a16="http://schemas.microsoft.com/office/drawing/2014/main" id="{FB1D029E-4041-4CF6-9335-462E5C330B9F}"/>
              </a:ext>
            </a:extLst>
          </p:cNvPr>
          <p:cNvSpPr/>
          <p:nvPr/>
        </p:nvSpPr>
        <p:spPr>
          <a:xfrm>
            <a:off x="4384021" y="2243718"/>
            <a:ext cx="2814543" cy="4005797"/>
          </a:xfrm>
          <a:custGeom>
            <a:avLst/>
            <a:gdLst>
              <a:gd name="connsiteX0" fmla="*/ 1407272 w 2814543"/>
              <a:gd name="connsiteY0" fmla="*/ 2887061 h 4005797"/>
              <a:gd name="connsiteX1" fmla="*/ 280672 w 2814543"/>
              <a:gd name="connsiteY1" fmla="*/ 3413320 h 4005797"/>
              <a:gd name="connsiteX2" fmla="*/ 1407272 w 2814543"/>
              <a:gd name="connsiteY2" fmla="*/ 3939579 h 4005797"/>
              <a:gd name="connsiteX3" fmla="*/ 2533871 w 2814543"/>
              <a:gd name="connsiteY3" fmla="*/ 3413320 h 4005797"/>
              <a:gd name="connsiteX4" fmla="*/ 1407272 w 2814543"/>
              <a:gd name="connsiteY4" fmla="*/ 2887061 h 4005797"/>
              <a:gd name="connsiteX5" fmla="*/ 1835313 w 2814543"/>
              <a:gd name="connsiteY5" fmla="*/ 795 h 4005797"/>
              <a:gd name="connsiteX6" fmla="*/ 1867778 w 2814543"/>
              <a:gd name="connsiteY6" fmla="*/ 3427 h 4005797"/>
              <a:gd name="connsiteX7" fmla="*/ 1877441 w 2814543"/>
              <a:gd name="connsiteY7" fmla="*/ 6938 h 4005797"/>
              <a:gd name="connsiteX8" fmla="*/ 1881820 w 2814543"/>
              <a:gd name="connsiteY8" fmla="*/ 11326 h 4005797"/>
              <a:gd name="connsiteX9" fmla="*/ 1898505 w 2814543"/>
              <a:gd name="connsiteY9" fmla="*/ 92563 h 4005797"/>
              <a:gd name="connsiteX10" fmla="*/ 1846714 w 2814543"/>
              <a:gd name="connsiteY10" fmla="*/ 206521 h 4005797"/>
              <a:gd name="connsiteX11" fmla="*/ 1732705 w 2814543"/>
              <a:gd name="connsiteY11" fmla="*/ 503389 h 4005797"/>
              <a:gd name="connsiteX12" fmla="*/ 1727004 w 2814543"/>
              <a:gd name="connsiteY12" fmla="*/ 524450 h 4005797"/>
              <a:gd name="connsiteX13" fmla="*/ 1748485 w 2814543"/>
              <a:gd name="connsiteY13" fmla="*/ 549398 h 4005797"/>
              <a:gd name="connsiteX14" fmla="*/ 1760373 w 2814543"/>
              <a:gd name="connsiteY14" fmla="*/ 541500 h 4005797"/>
              <a:gd name="connsiteX15" fmla="*/ 1848521 w 2814543"/>
              <a:gd name="connsiteY15" fmla="*/ 406982 h 4005797"/>
              <a:gd name="connsiteX16" fmla="*/ 1945846 w 2814543"/>
              <a:gd name="connsiteY16" fmla="*/ 305686 h 4005797"/>
              <a:gd name="connsiteX17" fmla="*/ 2026139 w 2814543"/>
              <a:gd name="connsiteY17" fmla="*/ 202133 h 4005797"/>
              <a:gd name="connsiteX18" fmla="*/ 2111159 w 2814543"/>
              <a:gd name="connsiteY18" fmla="*/ 212163 h 4005797"/>
              <a:gd name="connsiteX19" fmla="*/ 2108101 w 2814543"/>
              <a:gd name="connsiteY19" fmla="*/ 277604 h 4005797"/>
              <a:gd name="connsiteX20" fmla="*/ 1910323 w 2814543"/>
              <a:gd name="connsiteY20" fmla="*/ 542378 h 4005797"/>
              <a:gd name="connsiteX21" fmla="*/ 1851580 w 2814543"/>
              <a:gd name="connsiteY21" fmla="*/ 663482 h 4005797"/>
              <a:gd name="connsiteX22" fmla="*/ 1900243 w 2814543"/>
              <a:gd name="connsiteY22" fmla="*/ 684042 h 4005797"/>
              <a:gd name="connsiteX23" fmla="*/ 1969065 w 2814543"/>
              <a:gd name="connsiteY23" fmla="*/ 641543 h 4005797"/>
              <a:gd name="connsiteX24" fmla="*/ 2041920 w 2814543"/>
              <a:gd name="connsiteY24" fmla="*/ 609574 h 4005797"/>
              <a:gd name="connsiteX25" fmla="*/ 2119084 w 2814543"/>
              <a:gd name="connsiteY25" fmla="*/ 565194 h 4005797"/>
              <a:gd name="connsiteX26" fmla="*/ 2161212 w 2814543"/>
              <a:gd name="connsiteY26" fmla="*/ 538491 h 4005797"/>
              <a:gd name="connsiteX27" fmla="*/ 2211195 w 2814543"/>
              <a:gd name="connsiteY27" fmla="*/ 534981 h 4005797"/>
              <a:gd name="connsiteX28" fmla="*/ 2209875 w 2814543"/>
              <a:gd name="connsiteY28" fmla="*/ 615216 h 4005797"/>
              <a:gd name="connsiteX29" fmla="*/ 2102887 w 2814543"/>
              <a:gd name="connsiteY29" fmla="*/ 699462 h 4005797"/>
              <a:gd name="connsiteX30" fmla="*/ 1959472 w 2814543"/>
              <a:gd name="connsiteY30" fmla="*/ 788848 h 4005797"/>
              <a:gd name="connsiteX31" fmla="*/ 1875703 w 2814543"/>
              <a:gd name="connsiteY31" fmla="*/ 898544 h 4005797"/>
              <a:gd name="connsiteX32" fmla="*/ 1790613 w 2814543"/>
              <a:gd name="connsiteY32" fmla="*/ 1019523 h 4005797"/>
              <a:gd name="connsiteX33" fmla="*/ 1732288 w 2814543"/>
              <a:gd name="connsiteY33" fmla="*/ 1083585 h 4005797"/>
              <a:gd name="connsiteX34" fmla="*/ 1631000 w 2814543"/>
              <a:gd name="connsiteY34" fmla="*/ 1340085 h 4005797"/>
              <a:gd name="connsiteX35" fmla="*/ 1632321 w 2814543"/>
              <a:gd name="connsiteY35" fmla="*/ 1801433 h 4005797"/>
              <a:gd name="connsiteX36" fmla="*/ 1967215 w 2814543"/>
              <a:gd name="connsiteY36" fmla="*/ 2656048 h 4005797"/>
              <a:gd name="connsiteX37" fmla="*/ 1986007 w 2814543"/>
              <a:gd name="connsiteY37" fmla="*/ 2672575 h 4005797"/>
              <a:gd name="connsiteX38" fmla="*/ 2078022 w 2814543"/>
              <a:gd name="connsiteY38" fmla="*/ 2694545 h 4005797"/>
              <a:gd name="connsiteX39" fmla="*/ 2814543 w 2814543"/>
              <a:gd name="connsiteY39" fmla="*/ 3308081 h 4005797"/>
              <a:gd name="connsiteX40" fmla="*/ 1407272 w 2814543"/>
              <a:gd name="connsiteY40" fmla="*/ 4005797 h 4005797"/>
              <a:gd name="connsiteX41" fmla="*/ 0 w 2814543"/>
              <a:gd name="connsiteY41" fmla="*/ 3308081 h 4005797"/>
              <a:gd name="connsiteX42" fmla="*/ 736522 w 2814543"/>
              <a:gd name="connsiteY42" fmla="*/ 2694545 h 4005797"/>
              <a:gd name="connsiteX43" fmla="*/ 817546 w 2814543"/>
              <a:gd name="connsiteY43" fmla="*/ 2675199 h 4005797"/>
              <a:gd name="connsiteX44" fmla="*/ 878377 w 2814543"/>
              <a:gd name="connsiteY44" fmla="*/ 2650485 h 4005797"/>
              <a:gd name="connsiteX45" fmla="*/ 1276182 w 2814543"/>
              <a:gd name="connsiteY45" fmla="*/ 2054423 h 4005797"/>
              <a:gd name="connsiteX46" fmla="*/ 1304684 w 2814543"/>
              <a:gd name="connsiteY46" fmla="*/ 1652748 h 4005797"/>
              <a:gd name="connsiteX47" fmla="*/ 1242883 w 2814543"/>
              <a:gd name="connsiteY47" fmla="*/ 1126084 h 4005797"/>
              <a:gd name="connsiteX48" fmla="*/ 1086329 w 2814543"/>
              <a:gd name="connsiteY48" fmla="*/ 877858 h 4005797"/>
              <a:gd name="connsiteX49" fmla="*/ 867904 w 2814543"/>
              <a:gd name="connsiteY49" fmla="*/ 675266 h 4005797"/>
              <a:gd name="connsiteX50" fmla="*/ 852541 w 2814543"/>
              <a:gd name="connsiteY50" fmla="*/ 656837 h 4005797"/>
              <a:gd name="connsiteX51" fmla="*/ 847744 w 2814543"/>
              <a:gd name="connsiteY51" fmla="*/ 602554 h 4005797"/>
              <a:gd name="connsiteX52" fmla="*/ 1206456 w 2814543"/>
              <a:gd name="connsiteY52" fmla="*/ 738451 h 4005797"/>
              <a:gd name="connsiteX53" fmla="*/ 1273123 w 2814543"/>
              <a:gd name="connsiteY53" fmla="*/ 718267 h 4005797"/>
              <a:gd name="connsiteX54" fmla="*/ 1403816 w 2814543"/>
              <a:gd name="connsiteY54" fmla="*/ 478441 h 4005797"/>
              <a:gd name="connsiteX55" fmla="*/ 1424394 w 2814543"/>
              <a:gd name="connsiteY55" fmla="*/ 107858 h 4005797"/>
              <a:gd name="connsiteX56" fmla="*/ 1438923 w 2814543"/>
              <a:gd name="connsiteY56" fmla="*/ 41163 h 4005797"/>
              <a:gd name="connsiteX57" fmla="*/ 1484944 w 2814543"/>
              <a:gd name="connsiteY57" fmla="*/ 1672 h 4005797"/>
              <a:gd name="connsiteX58" fmla="*/ 1549873 w 2814543"/>
              <a:gd name="connsiteY58" fmla="*/ 60469 h 4005797"/>
              <a:gd name="connsiteX59" fmla="*/ 1542365 w 2814543"/>
              <a:gd name="connsiteY59" fmla="*/ 345929 h 4005797"/>
              <a:gd name="connsiteX60" fmla="*/ 1552445 w 2814543"/>
              <a:gd name="connsiteY60" fmla="*/ 478441 h 4005797"/>
              <a:gd name="connsiteX61" fmla="*/ 1581434 w 2814543"/>
              <a:gd name="connsiteY61" fmla="*/ 499001 h 4005797"/>
              <a:gd name="connsiteX62" fmla="*/ 1591097 w 2814543"/>
              <a:gd name="connsiteY62" fmla="*/ 494237 h 4005797"/>
              <a:gd name="connsiteX63" fmla="*/ 1608199 w 2814543"/>
              <a:gd name="connsiteY63" fmla="*/ 461266 h 4005797"/>
              <a:gd name="connsiteX64" fmla="*/ 1659503 w 2814543"/>
              <a:gd name="connsiteY64" fmla="*/ 308695 h 4005797"/>
              <a:gd name="connsiteX65" fmla="*/ 1728325 w 2814543"/>
              <a:gd name="connsiteY65" fmla="*/ 169287 h 4005797"/>
              <a:gd name="connsiteX66" fmla="*/ 1789292 w 2814543"/>
              <a:gd name="connsiteY66" fmla="*/ 39032 h 4005797"/>
              <a:gd name="connsiteX67" fmla="*/ 1835313 w 2814543"/>
              <a:gd name="connsiteY67" fmla="*/ 795 h 400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814543" h="4005797">
                <a:moveTo>
                  <a:pt x="1407272" y="2887061"/>
                </a:moveTo>
                <a:cubicBezTo>
                  <a:pt x="784945" y="2887061"/>
                  <a:pt x="280672" y="3122604"/>
                  <a:pt x="280672" y="3413320"/>
                </a:cubicBezTo>
                <a:cubicBezTo>
                  <a:pt x="280672" y="3704099"/>
                  <a:pt x="784945" y="3939579"/>
                  <a:pt x="1407272" y="3939579"/>
                </a:cubicBezTo>
                <a:cubicBezTo>
                  <a:pt x="2029598" y="3939579"/>
                  <a:pt x="2533871" y="3704099"/>
                  <a:pt x="2533871" y="3413320"/>
                </a:cubicBezTo>
                <a:cubicBezTo>
                  <a:pt x="2533871" y="3122604"/>
                  <a:pt x="2029598" y="2887061"/>
                  <a:pt x="1407272" y="2887061"/>
                </a:cubicBezTo>
                <a:close/>
                <a:moveTo>
                  <a:pt x="1835313" y="795"/>
                </a:moveTo>
                <a:cubicBezTo>
                  <a:pt x="1846297" y="-835"/>
                  <a:pt x="1857281" y="43"/>
                  <a:pt x="1867778" y="3427"/>
                </a:cubicBezTo>
                <a:lnTo>
                  <a:pt x="1877441" y="6938"/>
                </a:lnTo>
                <a:cubicBezTo>
                  <a:pt x="1878762" y="8317"/>
                  <a:pt x="1880082" y="10072"/>
                  <a:pt x="1881820" y="11326"/>
                </a:cubicBezTo>
                <a:cubicBezTo>
                  <a:pt x="1914285" y="35897"/>
                  <a:pt x="1912964" y="60093"/>
                  <a:pt x="1898505" y="92563"/>
                </a:cubicBezTo>
                <a:cubicBezTo>
                  <a:pt x="1881403" y="130674"/>
                  <a:pt x="1863398" y="168410"/>
                  <a:pt x="1846714" y="206521"/>
                </a:cubicBezTo>
                <a:cubicBezTo>
                  <a:pt x="1804656" y="303931"/>
                  <a:pt x="1772608" y="405227"/>
                  <a:pt x="1732705" y="503389"/>
                </a:cubicBezTo>
                <a:cubicBezTo>
                  <a:pt x="1730063" y="510033"/>
                  <a:pt x="1727908" y="517430"/>
                  <a:pt x="1727004" y="524450"/>
                </a:cubicBezTo>
                <a:cubicBezTo>
                  <a:pt x="1725266" y="537112"/>
                  <a:pt x="1735764" y="549900"/>
                  <a:pt x="1748485" y="549398"/>
                </a:cubicBezTo>
                <a:cubicBezTo>
                  <a:pt x="1752448" y="549398"/>
                  <a:pt x="1757731" y="545512"/>
                  <a:pt x="1760373" y="541500"/>
                </a:cubicBezTo>
                <a:cubicBezTo>
                  <a:pt x="1789709" y="495992"/>
                  <a:pt x="1811677" y="446849"/>
                  <a:pt x="1848521" y="406982"/>
                </a:cubicBezTo>
                <a:cubicBezTo>
                  <a:pt x="1880082" y="372757"/>
                  <a:pt x="1918665" y="342042"/>
                  <a:pt x="1945846" y="305686"/>
                </a:cubicBezTo>
                <a:cubicBezTo>
                  <a:pt x="1971707" y="270583"/>
                  <a:pt x="1999792" y="236734"/>
                  <a:pt x="2026139" y="202133"/>
                </a:cubicBezTo>
                <a:cubicBezTo>
                  <a:pt x="2052000" y="168410"/>
                  <a:pt x="2098924" y="185961"/>
                  <a:pt x="2111159" y="212163"/>
                </a:cubicBezTo>
                <a:cubicBezTo>
                  <a:pt x="2121726" y="234603"/>
                  <a:pt x="2123047" y="256918"/>
                  <a:pt x="2108101" y="277604"/>
                </a:cubicBezTo>
                <a:cubicBezTo>
                  <a:pt x="2044492" y="366990"/>
                  <a:pt x="1982273" y="459511"/>
                  <a:pt x="1910323" y="542378"/>
                </a:cubicBezTo>
                <a:cubicBezTo>
                  <a:pt x="1888425" y="567451"/>
                  <a:pt x="1826971" y="625746"/>
                  <a:pt x="1851580" y="663482"/>
                </a:cubicBezTo>
                <a:cubicBezTo>
                  <a:pt x="1862981" y="680532"/>
                  <a:pt x="1881820" y="688430"/>
                  <a:pt x="1900243" y="684042"/>
                </a:cubicBezTo>
                <a:cubicBezTo>
                  <a:pt x="1928745" y="677021"/>
                  <a:pt x="1944942" y="656461"/>
                  <a:pt x="1969065" y="641543"/>
                </a:cubicBezTo>
                <a:cubicBezTo>
                  <a:pt x="1991867" y="627502"/>
                  <a:pt x="2017797" y="620105"/>
                  <a:pt x="2041920" y="609574"/>
                </a:cubicBezTo>
                <a:cubicBezTo>
                  <a:pt x="2069101" y="597664"/>
                  <a:pt x="2094962" y="582746"/>
                  <a:pt x="2119084" y="565194"/>
                </a:cubicBezTo>
                <a:cubicBezTo>
                  <a:pt x="2132640" y="555541"/>
                  <a:pt x="2145849" y="545010"/>
                  <a:pt x="2161212" y="538491"/>
                </a:cubicBezTo>
                <a:cubicBezTo>
                  <a:pt x="2183527" y="528838"/>
                  <a:pt x="2200212" y="528838"/>
                  <a:pt x="2211195" y="534981"/>
                </a:cubicBezTo>
                <a:cubicBezTo>
                  <a:pt x="2234414" y="547643"/>
                  <a:pt x="2233511" y="587134"/>
                  <a:pt x="2209875" y="615216"/>
                </a:cubicBezTo>
                <a:cubicBezTo>
                  <a:pt x="2180051" y="649441"/>
                  <a:pt x="2140148" y="674389"/>
                  <a:pt x="2102887" y="699462"/>
                </a:cubicBezTo>
                <a:cubicBezTo>
                  <a:pt x="2056379" y="730553"/>
                  <a:pt x="2000696" y="750737"/>
                  <a:pt x="1959472" y="788848"/>
                </a:cubicBezTo>
                <a:cubicBezTo>
                  <a:pt x="1925686" y="820064"/>
                  <a:pt x="1902467" y="863441"/>
                  <a:pt x="1875703" y="898544"/>
                </a:cubicBezTo>
                <a:cubicBezTo>
                  <a:pt x="1846297" y="937533"/>
                  <a:pt x="1821757" y="981035"/>
                  <a:pt x="1790613" y="1019523"/>
                </a:cubicBezTo>
                <a:cubicBezTo>
                  <a:pt x="1772608" y="1041963"/>
                  <a:pt x="1752031" y="1063025"/>
                  <a:pt x="1732288" y="1083585"/>
                </a:cubicBezTo>
                <a:cubicBezTo>
                  <a:pt x="1659503" y="1159432"/>
                  <a:pt x="1647615" y="1233147"/>
                  <a:pt x="1631000" y="1340085"/>
                </a:cubicBezTo>
                <a:cubicBezTo>
                  <a:pt x="1607712" y="1490148"/>
                  <a:pt x="1622658" y="1650993"/>
                  <a:pt x="1632321" y="1801433"/>
                </a:cubicBezTo>
                <a:cubicBezTo>
                  <a:pt x="1664230" y="2303996"/>
                  <a:pt x="1866318" y="2558897"/>
                  <a:pt x="1967215" y="2656048"/>
                </a:cubicBezTo>
                <a:lnTo>
                  <a:pt x="1986007" y="2672575"/>
                </a:lnTo>
                <a:lnTo>
                  <a:pt x="2078022" y="2694545"/>
                </a:lnTo>
                <a:cubicBezTo>
                  <a:pt x="2516701" y="2812661"/>
                  <a:pt x="2814543" y="3043057"/>
                  <a:pt x="2814543" y="3308081"/>
                </a:cubicBezTo>
                <a:cubicBezTo>
                  <a:pt x="2814543" y="3693569"/>
                  <a:pt x="2184398" y="4005797"/>
                  <a:pt x="1407272" y="4005797"/>
                </a:cubicBezTo>
                <a:cubicBezTo>
                  <a:pt x="630145" y="4005797"/>
                  <a:pt x="0" y="3693569"/>
                  <a:pt x="0" y="3308081"/>
                </a:cubicBezTo>
                <a:cubicBezTo>
                  <a:pt x="0" y="3043057"/>
                  <a:pt x="297842" y="2812661"/>
                  <a:pt x="736522" y="2694545"/>
                </a:cubicBezTo>
                <a:lnTo>
                  <a:pt x="817546" y="2675199"/>
                </a:lnTo>
                <a:lnTo>
                  <a:pt x="878377" y="2650485"/>
                </a:lnTo>
                <a:cubicBezTo>
                  <a:pt x="1103248" y="2535767"/>
                  <a:pt x="1227824" y="2303542"/>
                  <a:pt x="1276182" y="2054423"/>
                </a:cubicBezTo>
                <a:cubicBezTo>
                  <a:pt x="1302042" y="1922537"/>
                  <a:pt x="1309064" y="1787016"/>
                  <a:pt x="1304684" y="1652748"/>
                </a:cubicBezTo>
                <a:cubicBezTo>
                  <a:pt x="1298984" y="1479617"/>
                  <a:pt x="1287583" y="1293198"/>
                  <a:pt x="1242883" y="1126084"/>
                </a:cubicBezTo>
                <a:cubicBezTo>
                  <a:pt x="1216953" y="1029677"/>
                  <a:pt x="1145071" y="955586"/>
                  <a:pt x="1086329" y="877858"/>
                </a:cubicBezTo>
                <a:cubicBezTo>
                  <a:pt x="1025362" y="797624"/>
                  <a:pt x="942427" y="742839"/>
                  <a:pt x="867904" y="675266"/>
                </a:cubicBezTo>
                <a:cubicBezTo>
                  <a:pt x="862204" y="670001"/>
                  <a:pt x="856920" y="663482"/>
                  <a:pt x="852541" y="656837"/>
                </a:cubicBezTo>
                <a:cubicBezTo>
                  <a:pt x="842878" y="642922"/>
                  <a:pt x="839819" y="617848"/>
                  <a:pt x="847744" y="602554"/>
                </a:cubicBezTo>
                <a:cubicBezTo>
                  <a:pt x="932347" y="442837"/>
                  <a:pt x="1115665" y="728798"/>
                  <a:pt x="1206456" y="738451"/>
                </a:cubicBezTo>
                <a:cubicBezTo>
                  <a:pt x="1231482" y="741585"/>
                  <a:pt x="1256439" y="736320"/>
                  <a:pt x="1273123" y="718267"/>
                </a:cubicBezTo>
                <a:cubicBezTo>
                  <a:pt x="1333186" y="653327"/>
                  <a:pt x="1400758" y="570961"/>
                  <a:pt x="1403816" y="478441"/>
                </a:cubicBezTo>
                <a:cubicBezTo>
                  <a:pt x="1407779" y="353827"/>
                  <a:pt x="1409100" y="230591"/>
                  <a:pt x="1424394" y="107858"/>
                </a:cubicBezTo>
                <a:cubicBezTo>
                  <a:pt x="1427522" y="85041"/>
                  <a:pt x="1431902" y="62726"/>
                  <a:pt x="1438923" y="41163"/>
                </a:cubicBezTo>
                <a:cubicBezTo>
                  <a:pt x="1445944" y="20101"/>
                  <a:pt x="1462142" y="5684"/>
                  <a:pt x="1484944" y="1672"/>
                </a:cubicBezTo>
                <a:cubicBezTo>
                  <a:pt x="1520050" y="-3969"/>
                  <a:pt x="1551194" y="23611"/>
                  <a:pt x="1549873" y="60469"/>
                </a:cubicBezTo>
                <a:cubicBezTo>
                  <a:pt x="1545911" y="156124"/>
                  <a:pt x="1539306" y="249898"/>
                  <a:pt x="1542365" y="345929"/>
                </a:cubicBezTo>
                <a:cubicBezTo>
                  <a:pt x="1543269" y="382410"/>
                  <a:pt x="1534927" y="445470"/>
                  <a:pt x="1552445" y="478441"/>
                </a:cubicBezTo>
                <a:cubicBezTo>
                  <a:pt x="1557729" y="488094"/>
                  <a:pt x="1570450" y="499502"/>
                  <a:pt x="1581434" y="499001"/>
                </a:cubicBezTo>
                <a:cubicBezTo>
                  <a:pt x="1584493" y="499001"/>
                  <a:pt x="1589290" y="496870"/>
                  <a:pt x="1591097" y="494237"/>
                </a:cubicBezTo>
                <a:cubicBezTo>
                  <a:pt x="1597215" y="483706"/>
                  <a:pt x="1603819" y="472674"/>
                  <a:pt x="1608199" y="461266"/>
                </a:cubicBezTo>
                <a:cubicBezTo>
                  <a:pt x="1626621" y="410868"/>
                  <a:pt x="1638022" y="357838"/>
                  <a:pt x="1659503" y="308695"/>
                </a:cubicBezTo>
                <a:cubicBezTo>
                  <a:pt x="1680080" y="261306"/>
                  <a:pt x="1707261" y="216550"/>
                  <a:pt x="1728325" y="169287"/>
                </a:cubicBezTo>
                <a:cubicBezTo>
                  <a:pt x="1747651" y="125409"/>
                  <a:pt x="1767811" y="82032"/>
                  <a:pt x="1789292" y="39032"/>
                </a:cubicBezTo>
                <a:cubicBezTo>
                  <a:pt x="1798955" y="20101"/>
                  <a:pt x="1812998" y="5183"/>
                  <a:pt x="1835313" y="795"/>
                </a:cubicBezTo>
                <a:close/>
              </a:path>
            </a:pathLst>
          </a:custGeom>
          <a:solidFill>
            <a:srgbClr val="F7931F">
              <a:lumMod val="50000"/>
            </a:srgb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19D65051-6461-4142-B612-C800170C602D}"/>
              </a:ext>
            </a:extLst>
          </p:cNvPr>
          <p:cNvSpPr txBox="1"/>
          <p:nvPr/>
        </p:nvSpPr>
        <p:spPr>
          <a:xfrm>
            <a:off x="7192643" y="2194693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C13018"/>
                </a:solidFill>
                <a:effectLst/>
                <a:uLnTx/>
                <a:uFillTx/>
              </a:rPr>
              <a:t>MAV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C13018"/>
                </a:solidFill>
                <a:effectLst/>
                <a:uLnTx/>
                <a:uFillTx/>
              </a:rPr>
              <a:t>TOMCAT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C13018"/>
              </a:solidFill>
              <a:effectLst/>
              <a:uLnTx/>
              <a:uFillTx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E975390A-E7FF-4DB4-A6BC-415BCC8C3E31}"/>
              </a:ext>
            </a:extLst>
          </p:cNvPr>
          <p:cNvSpPr txBox="1"/>
          <p:nvPr/>
        </p:nvSpPr>
        <p:spPr>
          <a:xfrm>
            <a:off x="6953670" y="3296926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FCC4C">
                    <a:lumMod val="75000"/>
                  </a:srgbClr>
                </a:solidFill>
                <a:effectLst/>
                <a:uLnTx/>
                <a:uFillTx/>
              </a:rPr>
              <a:t>JENKI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FCC4C">
                    <a:lumMod val="75000"/>
                  </a:srgbClr>
                </a:solidFill>
                <a:effectLst/>
                <a:uLnTx/>
                <a:uFillTx/>
              </a:rPr>
              <a:t>MYBATIS 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FFCC4C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3DBAB058-6E74-4C1C-8A07-24C51611E4B7}"/>
              </a:ext>
            </a:extLst>
          </p:cNvPr>
          <p:cNvSpPr txBox="1"/>
          <p:nvPr/>
        </p:nvSpPr>
        <p:spPr>
          <a:xfrm>
            <a:off x="1799697" y="2641917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A2B969">
                    <a:lumMod val="75000"/>
                  </a:srgbClr>
                </a:solidFill>
                <a:effectLst/>
                <a:uLnTx/>
                <a:uFillTx/>
              </a:rPr>
              <a:t>DBM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A2B969">
                    <a:lumMod val="75000"/>
                  </a:srgbClr>
                </a:solidFill>
                <a:effectLst/>
                <a:uLnTx/>
                <a:uFillTx/>
              </a:rPr>
              <a:t>CORE JAVA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A2B969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F12DC440-5DA8-402C-8C83-FB588AAE46CF}"/>
              </a:ext>
            </a:extLst>
          </p:cNvPr>
          <p:cNvSpPr txBox="1"/>
          <p:nvPr/>
        </p:nvSpPr>
        <p:spPr>
          <a:xfrm>
            <a:off x="6567465" y="686062"/>
            <a:ext cx="2937088" cy="120032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HTM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 CS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4CC1EF">
                    <a:lumMod val="75000"/>
                  </a:srgbClr>
                </a:solidFill>
                <a:effectLst/>
                <a:uLnTx/>
                <a:uFillTx/>
              </a:rPr>
              <a:t>BOOTSTRAP</a:t>
            </a:r>
            <a:endParaRPr kumimoji="0" lang="en-US" sz="2400" b="1" i="0" u="none" strike="noStrike" kern="0" cap="none" spc="0" normalizeH="0" baseline="0" noProof="1">
              <a:ln>
                <a:noFill/>
              </a:ln>
              <a:solidFill>
                <a:srgbClr val="4CC1EF">
                  <a:lumMod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1B67669C-96E7-4B98-BCEE-18E37CED54C7}"/>
              </a:ext>
            </a:extLst>
          </p:cNvPr>
          <p:cNvSpPr txBox="1"/>
          <p:nvPr/>
        </p:nvSpPr>
        <p:spPr>
          <a:xfrm>
            <a:off x="1946754" y="1279120"/>
            <a:ext cx="2937088" cy="156966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ANGULAR 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SPRING BOO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1" smtClean="0">
                <a:ln>
                  <a:noFill/>
                </a:ln>
                <a:solidFill>
                  <a:srgbClr val="F7931F"/>
                </a:solidFill>
                <a:effectLst/>
                <a:uLnTx/>
                <a:uFillTx/>
              </a:rPr>
              <a:t>JS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1" smtClean="0">
              <a:ln>
                <a:noFill/>
              </a:ln>
              <a:solidFill>
                <a:srgbClr val="F7931F"/>
              </a:solidFill>
              <a:effectLst/>
              <a:uLnTx/>
              <a:uFillTx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C6739812-80A6-42DA-BC6A-BB7B3773A554}"/>
              </a:ext>
            </a:extLst>
          </p:cNvPr>
          <p:cNvSpPr/>
          <p:nvPr/>
        </p:nvSpPr>
        <p:spPr>
          <a:xfrm>
            <a:off x="4802906" y="5403357"/>
            <a:ext cx="2077813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nowledge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="" xmlns:a16="http://schemas.microsoft.com/office/drawing/2014/main" id="{16578A46-937E-454D-9940-770DF18E2F98}"/>
              </a:ext>
            </a:extLst>
          </p:cNvPr>
          <p:cNvSpPr/>
          <p:nvPr/>
        </p:nvSpPr>
        <p:spPr>
          <a:xfrm>
            <a:off x="4110644" y="2510591"/>
            <a:ext cx="1107138" cy="7388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4" h="18474" extrusionOk="0">
                <a:moveTo>
                  <a:pt x="21282" y="12741"/>
                </a:moveTo>
                <a:cubicBezTo>
                  <a:pt x="21418" y="12895"/>
                  <a:pt x="21477" y="13147"/>
                  <a:pt x="21426" y="13377"/>
                </a:cubicBezTo>
                <a:cubicBezTo>
                  <a:pt x="21154" y="14550"/>
                  <a:pt x="20042" y="18026"/>
                  <a:pt x="16151" y="18432"/>
                </a:cubicBezTo>
                <a:cubicBezTo>
                  <a:pt x="11463" y="18925"/>
                  <a:pt x="9475" y="15011"/>
                  <a:pt x="5959" y="13388"/>
                </a:cubicBezTo>
                <a:cubicBezTo>
                  <a:pt x="3716" y="12357"/>
                  <a:pt x="1754" y="12993"/>
                  <a:pt x="641" y="13596"/>
                </a:cubicBezTo>
                <a:cubicBezTo>
                  <a:pt x="259" y="13805"/>
                  <a:pt x="-123" y="13300"/>
                  <a:pt x="38" y="12807"/>
                </a:cubicBezTo>
                <a:cubicBezTo>
                  <a:pt x="820" y="10438"/>
                  <a:pt x="2952" y="5647"/>
                  <a:pt x="8210" y="1930"/>
                </a:cubicBezTo>
                <a:cubicBezTo>
                  <a:pt x="14724" y="-2675"/>
                  <a:pt x="19506" y="1963"/>
                  <a:pt x="21205" y="5439"/>
                </a:cubicBezTo>
                <a:cubicBezTo>
                  <a:pt x="21417" y="5866"/>
                  <a:pt x="21129" y="6414"/>
                  <a:pt x="20738" y="6349"/>
                </a:cubicBezTo>
                <a:cubicBezTo>
                  <a:pt x="19472" y="6118"/>
                  <a:pt x="17043" y="5932"/>
                  <a:pt x="14274" y="7072"/>
                </a:cubicBezTo>
                <a:cubicBezTo>
                  <a:pt x="13807" y="7259"/>
                  <a:pt x="13841" y="8125"/>
                  <a:pt x="14317" y="8235"/>
                </a:cubicBezTo>
                <a:cubicBezTo>
                  <a:pt x="15998" y="8640"/>
                  <a:pt x="18615" y="9748"/>
                  <a:pt x="21282" y="12741"/>
                </a:cubicBezTo>
                <a:close/>
              </a:path>
            </a:pathLst>
          </a:custGeom>
          <a:solidFill>
            <a:srgbClr val="A2B969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="" xmlns:a16="http://schemas.microsoft.com/office/drawing/2014/main" id="{768FF869-53AE-485A-8D08-3F65B6D84595}"/>
              </a:ext>
            </a:extLst>
          </p:cNvPr>
          <p:cNvSpPr/>
          <p:nvPr/>
        </p:nvSpPr>
        <p:spPr>
          <a:xfrm>
            <a:off x="4444247" y="1209778"/>
            <a:ext cx="1459407" cy="11911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23" h="19569" extrusionOk="0">
                <a:moveTo>
                  <a:pt x="17390" y="17943"/>
                </a:moveTo>
                <a:cubicBezTo>
                  <a:pt x="17422" y="18159"/>
                  <a:pt x="17340" y="18376"/>
                  <a:pt x="17175" y="18498"/>
                </a:cubicBezTo>
                <a:cubicBezTo>
                  <a:pt x="16356" y="19132"/>
                  <a:pt x="13671" y="20746"/>
                  <a:pt x="10338" y="18109"/>
                </a:cubicBezTo>
                <a:cubicBezTo>
                  <a:pt x="6321" y="14924"/>
                  <a:pt x="6727" y="10666"/>
                  <a:pt x="4727" y="6877"/>
                </a:cubicBezTo>
                <a:cubicBezTo>
                  <a:pt x="3452" y="4456"/>
                  <a:pt x="1554" y="3440"/>
                  <a:pt x="341" y="3022"/>
                </a:cubicBezTo>
                <a:cubicBezTo>
                  <a:pt x="-71" y="2878"/>
                  <a:pt x="-122" y="2237"/>
                  <a:pt x="259" y="2013"/>
                </a:cubicBezTo>
                <a:cubicBezTo>
                  <a:pt x="2100" y="926"/>
                  <a:pt x="6276" y="-854"/>
                  <a:pt x="12408" y="472"/>
                </a:cubicBezTo>
                <a:cubicBezTo>
                  <a:pt x="20005" y="2114"/>
                  <a:pt x="21478" y="8995"/>
                  <a:pt x="21059" y="12727"/>
                </a:cubicBezTo>
                <a:cubicBezTo>
                  <a:pt x="21008" y="13188"/>
                  <a:pt x="20501" y="13361"/>
                  <a:pt x="20221" y="13015"/>
                </a:cubicBezTo>
                <a:cubicBezTo>
                  <a:pt x="19326" y="11898"/>
                  <a:pt x="17460" y="9939"/>
                  <a:pt x="14655" y="8664"/>
                </a:cubicBezTo>
                <a:cubicBezTo>
                  <a:pt x="14179" y="8447"/>
                  <a:pt x="13766" y="9081"/>
                  <a:pt x="14096" y="9521"/>
                </a:cubicBezTo>
                <a:cubicBezTo>
                  <a:pt x="15251" y="11077"/>
                  <a:pt x="16787" y="13829"/>
                  <a:pt x="17390" y="17943"/>
                </a:cubicBezTo>
                <a:close/>
              </a:path>
            </a:pathLst>
          </a:custGeom>
          <a:solidFill>
            <a:srgbClr val="F7931F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Shape">
            <a:extLst>
              <a:ext uri="{FF2B5EF4-FFF2-40B4-BE49-F238E27FC236}">
                <a16:creationId xmlns="" xmlns:a16="http://schemas.microsoft.com/office/drawing/2014/main" id="{39F39F1B-415F-48AE-8D13-7F7A50B8DB42}"/>
              </a:ext>
            </a:extLst>
          </p:cNvPr>
          <p:cNvSpPr/>
          <p:nvPr/>
        </p:nvSpPr>
        <p:spPr>
          <a:xfrm>
            <a:off x="6774825" y="2729296"/>
            <a:ext cx="875034" cy="5790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4" h="18028" extrusionOk="0">
                <a:moveTo>
                  <a:pt x="195" y="6397"/>
                </a:moveTo>
                <a:cubicBezTo>
                  <a:pt x="44" y="6260"/>
                  <a:pt x="-31" y="6015"/>
                  <a:pt x="12" y="5783"/>
                </a:cubicBezTo>
                <a:cubicBezTo>
                  <a:pt x="195" y="4595"/>
                  <a:pt x="1066" y="1045"/>
                  <a:pt x="4928" y="185"/>
                </a:cubicBezTo>
                <a:cubicBezTo>
                  <a:pt x="9586" y="-853"/>
                  <a:pt x="11855" y="2765"/>
                  <a:pt x="15481" y="3939"/>
                </a:cubicBezTo>
                <a:cubicBezTo>
                  <a:pt x="17804" y="4690"/>
                  <a:pt x="19708" y="3830"/>
                  <a:pt x="20784" y="3107"/>
                </a:cubicBezTo>
                <a:cubicBezTo>
                  <a:pt x="21150" y="2861"/>
                  <a:pt x="21569" y="3311"/>
                  <a:pt x="21440" y="3803"/>
                </a:cubicBezTo>
                <a:cubicBezTo>
                  <a:pt x="20827" y="6220"/>
                  <a:pt x="19041" y="11190"/>
                  <a:pt x="14050" y="15449"/>
                </a:cubicBezTo>
                <a:cubicBezTo>
                  <a:pt x="7865" y="20747"/>
                  <a:pt x="2744" y="16746"/>
                  <a:pt x="797" y="13538"/>
                </a:cubicBezTo>
                <a:cubicBezTo>
                  <a:pt x="561" y="13142"/>
                  <a:pt x="797" y="12569"/>
                  <a:pt x="1195" y="12596"/>
                </a:cubicBezTo>
                <a:cubicBezTo>
                  <a:pt x="2475" y="12678"/>
                  <a:pt x="4928" y="12569"/>
                  <a:pt x="7606" y="11135"/>
                </a:cubicBezTo>
                <a:cubicBezTo>
                  <a:pt x="8058" y="10889"/>
                  <a:pt x="7961" y="10056"/>
                  <a:pt x="7477" y="9988"/>
                </a:cubicBezTo>
                <a:cubicBezTo>
                  <a:pt x="5756" y="9810"/>
                  <a:pt x="3067" y="9032"/>
                  <a:pt x="195" y="6397"/>
                </a:cubicBezTo>
                <a:close/>
              </a:path>
            </a:pathLst>
          </a:custGeom>
          <a:solidFill>
            <a:srgbClr val="FFCC4C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="" xmlns:a16="http://schemas.microsoft.com/office/drawing/2014/main" id="{97AEA73E-15F6-45B0-AA7C-BB0BAF65D4A9}"/>
              </a:ext>
            </a:extLst>
          </p:cNvPr>
          <p:cNvSpPr/>
          <p:nvPr/>
        </p:nvSpPr>
        <p:spPr>
          <a:xfrm>
            <a:off x="6774825" y="1983404"/>
            <a:ext cx="601563" cy="5762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20" h="20463" extrusionOk="0">
                <a:moveTo>
                  <a:pt x="694" y="14243"/>
                </a:moveTo>
                <a:cubicBezTo>
                  <a:pt x="486" y="14212"/>
                  <a:pt x="322" y="14072"/>
                  <a:pt x="263" y="13869"/>
                </a:cubicBezTo>
                <a:cubicBezTo>
                  <a:pt x="-50" y="12826"/>
                  <a:pt x="-690" y="9509"/>
                  <a:pt x="2674" y="6690"/>
                </a:cubicBezTo>
                <a:cubicBezTo>
                  <a:pt x="6738" y="3295"/>
                  <a:pt x="10445" y="4915"/>
                  <a:pt x="14449" y="3840"/>
                </a:cubicBezTo>
                <a:cubicBezTo>
                  <a:pt x="17010" y="3155"/>
                  <a:pt x="18498" y="1411"/>
                  <a:pt x="19228" y="243"/>
                </a:cubicBezTo>
                <a:cubicBezTo>
                  <a:pt x="19481" y="-162"/>
                  <a:pt x="20076" y="-37"/>
                  <a:pt x="20151" y="445"/>
                </a:cubicBezTo>
                <a:cubicBezTo>
                  <a:pt x="20568" y="2703"/>
                  <a:pt x="20910" y="7656"/>
                  <a:pt x="17858" y="13807"/>
                </a:cubicBezTo>
                <a:cubicBezTo>
                  <a:pt x="14092" y="21438"/>
                  <a:pt x="7468" y="21095"/>
                  <a:pt x="4252" y="19616"/>
                </a:cubicBezTo>
                <a:cubicBezTo>
                  <a:pt x="3850" y="19429"/>
                  <a:pt x="3850" y="18837"/>
                  <a:pt x="4237" y="18650"/>
                </a:cubicBezTo>
                <a:cubicBezTo>
                  <a:pt x="5503" y="18012"/>
                  <a:pt x="7825" y="16564"/>
                  <a:pt x="9820" y="13932"/>
                </a:cubicBezTo>
                <a:cubicBezTo>
                  <a:pt x="10162" y="13480"/>
                  <a:pt x="9715" y="12873"/>
                  <a:pt x="9224" y="13091"/>
                </a:cubicBezTo>
                <a:cubicBezTo>
                  <a:pt x="7497" y="13885"/>
                  <a:pt x="4565" y="14757"/>
                  <a:pt x="694" y="14243"/>
                </a:cubicBezTo>
                <a:close/>
              </a:path>
            </a:pathLst>
          </a:custGeom>
          <a:solidFill>
            <a:srgbClr val="C1301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Shape">
            <a:extLst>
              <a:ext uri="{FF2B5EF4-FFF2-40B4-BE49-F238E27FC236}">
                <a16:creationId xmlns="" xmlns:a16="http://schemas.microsoft.com/office/drawing/2014/main" id="{C7951DE3-AB9A-452B-8C4A-0F122031D958}"/>
              </a:ext>
            </a:extLst>
          </p:cNvPr>
          <p:cNvSpPr/>
          <p:nvPr/>
        </p:nvSpPr>
        <p:spPr>
          <a:xfrm>
            <a:off x="6104353" y="984464"/>
            <a:ext cx="770555" cy="11534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77" h="21341" extrusionOk="0">
                <a:moveTo>
                  <a:pt x="4662" y="20533"/>
                </a:moveTo>
                <a:cubicBezTo>
                  <a:pt x="4479" y="20647"/>
                  <a:pt x="4220" y="20671"/>
                  <a:pt x="4004" y="20598"/>
                </a:cubicBezTo>
                <a:cubicBezTo>
                  <a:pt x="2891" y="20200"/>
                  <a:pt x="-338" y="18723"/>
                  <a:pt x="29" y="14934"/>
                </a:cubicBezTo>
                <a:cubicBezTo>
                  <a:pt x="472" y="10366"/>
                  <a:pt x="4749" y="8897"/>
                  <a:pt x="7049" y="5700"/>
                </a:cubicBezTo>
                <a:cubicBezTo>
                  <a:pt x="8518" y="3655"/>
                  <a:pt x="8270" y="1700"/>
                  <a:pt x="7902" y="556"/>
                </a:cubicBezTo>
                <a:cubicBezTo>
                  <a:pt x="7773" y="166"/>
                  <a:pt x="8345" y="-142"/>
                  <a:pt x="8799" y="69"/>
                </a:cubicBezTo>
                <a:cubicBezTo>
                  <a:pt x="10991" y="1091"/>
                  <a:pt x="15333" y="3696"/>
                  <a:pt x="17979" y="9189"/>
                </a:cubicBezTo>
                <a:cubicBezTo>
                  <a:pt x="21262" y="15989"/>
                  <a:pt x="15711" y="20071"/>
                  <a:pt x="11931" y="21304"/>
                </a:cubicBezTo>
                <a:cubicBezTo>
                  <a:pt x="11466" y="21458"/>
                  <a:pt x="10980" y="21117"/>
                  <a:pt x="11121" y="20752"/>
                </a:cubicBezTo>
                <a:cubicBezTo>
                  <a:pt x="11607" y="19559"/>
                  <a:pt x="12266" y="17239"/>
                  <a:pt x="11682" y="14439"/>
                </a:cubicBezTo>
                <a:cubicBezTo>
                  <a:pt x="11585" y="13969"/>
                  <a:pt x="10721" y="13904"/>
                  <a:pt x="10516" y="14350"/>
                </a:cubicBezTo>
                <a:cubicBezTo>
                  <a:pt x="9782" y="15924"/>
                  <a:pt x="8162" y="18318"/>
                  <a:pt x="4662" y="20533"/>
                </a:cubicBezTo>
                <a:close/>
              </a:path>
            </a:pathLst>
          </a:custGeom>
          <a:solidFill>
            <a:srgbClr val="4CC1EF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17" y="1040146"/>
            <a:ext cx="10140463" cy="57040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92769" y="270705"/>
            <a:ext cx="39821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>
                <a:latin typeface="Algerian" pitchFamily="82" charset="0"/>
              </a:rPr>
              <a:t>   ER DIAGRAM</a:t>
            </a:r>
            <a:endParaRPr lang="en-US" sz="4400" dirty="0">
              <a:latin typeface="Algerian" pitchFamily="82" charset="0"/>
            </a:endParaRPr>
          </a:p>
        </p:txBody>
      </p:sp>
      <p:sp>
        <p:nvSpPr>
          <p:cNvPr id="4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9782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TRUCTUR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6575"/>
            <a:ext cx="12192000" cy="552725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354286" y="449943"/>
            <a:ext cx="34804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dirty="0" smtClean="0">
                <a:latin typeface="Algerian" pitchFamily="82" charset="0"/>
              </a:rPr>
              <a:t>ARCHITECTURE</a:t>
            </a:r>
            <a:endParaRPr lang="en-US" sz="3600" dirty="0">
              <a:latin typeface="Algerian" pitchFamily="82" charset="0"/>
            </a:endParaRPr>
          </a:p>
        </p:txBody>
      </p:sp>
      <p:pic>
        <p:nvPicPr>
          <p:cNvPr id="4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sp>
        <p:nvSpPr>
          <p:cNvPr id="5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499101"/>
            <a:ext cx="4731657" cy="1358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                           </a:t>
            </a:r>
            <a:r>
              <a:rPr lang="en-IN" b="0" dirty="0" smtClean="0">
                <a:latin typeface="Algerian" pitchFamily="82" charset="0"/>
              </a:rPr>
              <a:t>FUNCTIONALITY</a:t>
            </a:r>
            <a:endParaRPr lang="en-US" b="0" dirty="0">
              <a:latin typeface="Algerian" pitchFamily="82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FAC07A01-0797-4D3E-9F93-B1C30D246B96}"/>
              </a:ext>
            </a:extLst>
          </p:cNvPr>
          <p:cNvSpPr txBox="1"/>
          <p:nvPr/>
        </p:nvSpPr>
        <p:spPr>
          <a:xfrm>
            <a:off x="7789416" y="5436465"/>
            <a:ext cx="2937088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400" b="1" cap="all" dirty="0" smtClean="0">
                <a:solidFill>
                  <a:schemeClr val="accent3">
                    <a:lumMod val="75000"/>
                  </a:schemeClr>
                </a:solidFill>
              </a:rPr>
              <a:t>Delete items</a:t>
            </a:r>
            <a:endParaRPr lang="en-US" sz="2400" b="1" cap="all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F21009EA-D474-412D-91E7-74E01F8EBF83}"/>
              </a:ext>
            </a:extLst>
          </p:cNvPr>
          <p:cNvSpPr txBox="1"/>
          <p:nvPr/>
        </p:nvSpPr>
        <p:spPr>
          <a:xfrm>
            <a:off x="2183843" y="5366574"/>
            <a:ext cx="2937088" cy="120032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2400" b="1" cap="all" dirty="0" err="1" smtClean="0">
                <a:solidFill>
                  <a:schemeClr val="accent4">
                    <a:lumMod val="75000"/>
                  </a:schemeClr>
                </a:solidFill>
              </a:rPr>
              <a:t>LogiN</a:t>
            </a:r>
            <a:endParaRPr lang="en-US" sz="2400" b="1" cap="all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r>
              <a:rPr lang="en-US" sz="2400" b="1" cap="all" dirty="0" smtClean="0">
                <a:solidFill>
                  <a:schemeClr val="accent4">
                    <a:lumMod val="75000"/>
                  </a:schemeClr>
                </a:solidFill>
              </a:rPr>
              <a:t> LOGOUT</a:t>
            </a:r>
          </a:p>
          <a:p>
            <a:pPr algn="ctr"/>
            <a:endParaRPr lang="en-US" sz="2400" b="1" cap="all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A3C6DC3E-AB08-4244-8575-A1888454FEA6}"/>
              </a:ext>
            </a:extLst>
          </p:cNvPr>
          <p:cNvSpPr txBox="1"/>
          <p:nvPr/>
        </p:nvSpPr>
        <p:spPr>
          <a:xfrm>
            <a:off x="8113846" y="1289082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400" b="1" cap="all" dirty="0" smtClean="0">
                <a:solidFill>
                  <a:schemeClr val="accent1"/>
                </a:solidFill>
              </a:rPr>
              <a:t>Browse through products</a:t>
            </a:r>
            <a:endParaRPr lang="en-US" sz="2400" b="1" cap="all" dirty="0">
              <a:solidFill>
                <a:schemeClr val="accent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="" xmlns:a16="http://schemas.microsoft.com/office/drawing/2014/main" id="{5B9C9562-622B-48EB-A111-4850FF8FA9BE}"/>
              </a:ext>
            </a:extLst>
          </p:cNvPr>
          <p:cNvSpPr txBox="1"/>
          <p:nvPr/>
        </p:nvSpPr>
        <p:spPr>
          <a:xfrm>
            <a:off x="1128522" y="1303150"/>
            <a:ext cx="2937088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r"/>
            <a:r>
              <a:rPr lang="en-US" sz="2400" b="1" cap="all" dirty="0" smtClean="0">
                <a:solidFill>
                  <a:schemeClr val="accent6">
                    <a:lumMod val="75000"/>
                  </a:schemeClr>
                </a:solidFill>
              </a:rPr>
              <a:t>Checkout products</a:t>
            </a:r>
            <a:endParaRPr lang="en-US" sz="2400" b="1" cap="all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="" xmlns:a16="http://schemas.microsoft.com/office/drawing/2014/main" id="{596A6A5E-08B8-4282-9DFC-7B55971F1179}"/>
              </a:ext>
            </a:extLst>
          </p:cNvPr>
          <p:cNvSpPr/>
          <p:nvPr/>
        </p:nvSpPr>
        <p:spPr>
          <a:xfrm>
            <a:off x="4115514" y="1303150"/>
            <a:ext cx="1957729" cy="1989023"/>
          </a:xfrm>
          <a:custGeom>
            <a:avLst/>
            <a:gdLst>
              <a:gd name="connsiteX0" fmla="*/ 1957729 w 1957729"/>
              <a:gd name="connsiteY0" fmla="*/ 0 h 1989023"/>
              <a:gd name="connsiteX1" fmla="*/ 1957729 w 1957729"/>
              <a:gd name="connsiteY1" fmla="*/ 732098 h 1989023"/>
              <a:gd name="connsiteX2" fmla="*/ 1941234 w 1957729"/>
              <a:gd name="connsiteY2" fmla="*/ 760125 h 1989023"/>
              <a:gd name="connsiteX3" fmla="*/ 1908514 w 1957729"/>
              <a:gd name="connsiteY3" fmla="*/ 759198 h 1989023"/>
              <a:gd name="connsiteX4" fmla="*/ 1721533 w 1957729"/>
              <a:gd name="connsiteY4" fmla="*/ 718393 h 1989023"/>
              <a:gd name="connsiteX5" fmla="*/ 1612498 w 1957729"/>
              <a:gd name="connsiteY5" fmla="*/ 803403 h 1989023"/>
              <a:gd name="connsiteX6" fmla="*/ 1593283 w 1957729"/>
              <a:gd name="connsiteY6" fmla="*/ 959615 h 1989023"/>
              <a:gd name="connsiteX7" fmla="*/ 1690082 w 1957729"/>
              <a:gd name="connsiteY7" fmla="*/ 1083265 h 1989023"/>
              <a:gd name="connsiteX8" fmla="*/ 1909420 w 1957729"/>
              <a:gd name="connsiteY8" fmla="*/ 1054929 h 1989023"/>
              <a:gd name="connsiteX9" fmla="*/ 1941505 w 1957729"/>
              <a:gd name="connsiteY9" fmla="*/ 1054929 h 1989023"/>
              <a:gd name="connsiteX10" fmla="*/ 1957729 w 1957729"/>
              <a:gd name="connsiteY10" fmla="*/ 1082647 h 1989023"/>
              <a:gd name="connsiteX11" fmla="*/ 1957729 w 1957729"/>
              <a:gd name="connsiteY11" fmla="*/ 1746473 h 1989023"/>
              <a:gd name="connsiteX12" fmla="*/ 1871068 w 1957729"/>
              <a:gd name="connsiteY12" fmla="*/ 1755181 h 1989023"/>
              <a:gd name="connsiteX13" fmla="*/ 1530494 w 1957729"/>
              <a:gd name="connsiteY13" fmla="*/ 1982636 h 1989023"/>
              <a:gd name="connsiteX14" fmla="*/ 1527015 w 1957729"/>
              <a:gd name="connsiteY14" fmla="*/ 1989023 h 1989023"/>
              <a:gd name="connsiteX15" fmla="*/ 953215 w 1957729"/>
              <a:gd name="connsiteY15" fmla="*/ 1675241 h 1989023"/>
              <a:gd name="connsiteX16" fmla="*/ 860041 w 1957729"/>
              <a:gd name="connsiteY16" fmla="*/ 1676993 h 1989023"/>
              <a:gd name="connsiteX17" fmla="*/ 814814 w 1957729"/>
              <a:gd name="connsiteY17" fmla="*/ 1758293 h 1989023"/>
              <a:gd name="connsiteX18" fmla="*/ 762246 w 1957729"/>
              <a:gd name="connsiteY18" fmla="*/ 1911517 h 1989023"/>
              <a:gd name="connsiteX19" fmla="*/ 653755 w 1957729"/>
              <a:gd name="connsiteY19" fmla="*/ 1928519 h 1989023"/>
              <a:gd name="connsiteX20" fmla="*/ 564297 w 1957729"/>
              <a:gd name="connsiteY20" fmla="*/ 1864633 h 1989023"/>
              <a:gd name="connsiteX21" fmla="*/ 548708 w 1957729"/>
              <a:gd name="connsiteY21" fmla="*/ 1775089 h 1989023"/>
              <a:gd name="connsiteX22" fmla="*/ 645235 w 1957729"/>
              <a:gd name="connsiteY22" fmla="*/ 1668853 h 1989023"/>
              <a:gd name="connsiteX23" fmla="*/ 692909 w 1957729"/>
              <a:gd name="connsiteY23" fmla="*/ 1587243 h 1989023"/>
              <a:gd name="connsiteX24" fmla="*/ 644601 w 1957729"/>
              <a:gd name="connsiteY24" fmla="*/ 1506252 h 1989023"/>
              <a:gd name="connsiteX25" fmla="*/ 0 w 1957729"/>
              <a:gd name="connsiteY25" fmla="*/ 1153540 h 1989023"/>
              <a:gd name="connsiteX26" fmla="*/ 1071653 w 1957729"/>
              <a:gd name="connsiteY26" fmla="*/ 189304 h 1989023"/>
              <a:gd name="connsiteX27" fmla="*/ 1189482 w 1957729"/>
              <a:gd name="connsiteY27" fmla="*/ 142331 h 1989023"/>
              <a:gd name="connsiteX28" fmla="*/ 1225720 w 1957729"/>
              <a:gd name="connsiteY28" fmla="*/ 129068 h 1989023"/>
              <a:gd name="connsiteX29" fmla="*/ 1347159 w 1957729"/>
              <a:gd name="connsiteY29" fmla="*/ 89679 h 1989023"/>
              <a:gd name="connsiteX30" fmla="*/ 1428280 w 1957729"/>
              <a:gd name="connsiteY30" fmla="*/ 68821 h 1989023"/>
              <a:gd name="connsiteX31" fmla="*/ 1498550 w 1957729"/>
              <a:gd name="connsiteY31" fmla="*/ 51066 h 1989023"/>
              <a:gd name="connsiteX32" fmla="*/ 1582279 w 1957729"/>
              <a:gd name="connsiteY32" fmla="*/ 35755 h 1989023"/>
              <a:gd name="connsiteX33" fmla="*/ 1700830 w 1957729"/>
              <a:gd name="connsiteY33" fmla="*/ 17662 h 1989023"/>
              <a:gd name="connsiteX34" fmla="*/ 1774253 w 1957729"/>
              <a:gd name="connsiteY34" fmla="*/ 9265 h 1989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57729" h="1989023">
                <a:moveTo>
                  <a:pt x="1957729" y="0"/>
                </a:moveTo>
                <a:lnTo>
                  <a:pt x="1957729" y="732098"/>
                </a:lnTo>
                <a:cubicBezTo>
                  <a:pt x="1957729" y="749203"/>
                  <a:pt x="1946128" y="757446"/>
                  <a:pt x="1941234" y="760125"/>
                </a:cubicBezTo>
                <a:cubicBezTo>
                  <a:pt x="1936339" y="762907"/>
                  <a:pt x="1922925" y="768369"/>
                  <a:pt x="1908514" y="759198"/>
                </a:cubicBezTo>
                <a:cubicBezTo>
                  <a:pt x="1844072" y="719321"/>
                  <a:pt x="1777818" y="704689"/>
                  <a:pt x="1721533" y="718393"/>
                </a:cubicBezTo>
                <a:cubicBezTo>
                  <a:pt x="1676668" y="729419"/>
                  <a:pt x="1638783" y="758889"/>
                  <a:pt x="1612498" y="803403"/>
                </a:cubicBezTo>
                <a:cubicBezTo>
                  <a:pt x="1585307" y="849360"/>
                  <a:pt x="1578238" y="906342"/>
                  <a:pt x="1593283" y="959615"/>
                </a:cubicBezTo>
                <a:cubicBezTo>
                  <a:pt x="1607876" y="1012887"/>
                  <a:pt x="1643314" y="1057917"/>
                  <a:pt x="1690082" y="1083265"/>
                </a:cubicBezTo>
                <a:cubicBezTo>
                  <a:pt x="1776821" y="1130458"/>
                  <a:pt x="1853589" y="1086872"/>
                  <a:pt x="1909420" y="1054929"/>
                </a:cubicBezTo>
                <a:cubicBezTo>
                  <a:pt x="1923831" y="1046685"/>
                  <a:pt x="1936611" y="1052146"/>
                  <a:pt x="1941505" y="1054929"/>
                </a:cubicBezTo>
                <a:cubicBezTo>
                  <a:pt x="1946400" y="1057608"/>
                  <a:pt x="1957729" y="1065851"/>
                  <a:pt x="1957729" y="1082647"/>
                </a:cubicBezTo>
                <a:lnTo>
                  <a:pt x="1957729" y="1746473"/>
                </a:lnTo>
                <a:lnTo>
                  <a:pt x="1871068" y="1755181"/>
                </a:lnTo>
                <a:cubicBezTo>
                  <a:pt x="1729782" y="1783998"/>
                  <a:pt x="1608500" y="1867549"/>
                  <a:pt x="1530494" y="1982636"/>
                </a:cubicBezTo>
                <a:lnTo>
                  <a:pt x="1527015" y="1989023"/>
                </a:lnTo>
                <a:lnTo>
                  <a:pt x="953215" y="1675241"/>
                </a:lnTo>
                <a:cubicBezTo>
                  <a:pt x="923577" y="1659064"/>
                  <a:pt x="888773" y="1659682"/>
                  <a:pt x="860041" y="1676993"/>
                </a:cubicBezTo>
                <a:cubicBezTo>
                  <a:pt x="831038" y="1694407"/>
                  <a:pt x="814180" y="1724805"/>
                  <a:pt x="814814" y="1758293"/>
                </a:cubicBezTo>
                <a:cubicBezTo>
                  <a:pt x="815993" y="1827434"/>
                  <a:pt x="813002" y="1879264"/>
                  <a:pt x="762246" y="1911517"/>
                </a:cubicBezTo>
                <a:cubicBezTo>
                  <a:pt x="731430" y="1931301"/>
                  <a:pt x="691640" y="1937380"/>
                  <a:pt x="653755" y="1928519"/>
                </a:cubicBezTo>
                <a:cubicBezTo>
                  <a:pt x="615960" y="1919451"/>
                  <a:pt x="583240" y="1896266"/>
                  <a:pt x="564297" y="1864633"/>
                </a:cubicBezTo>
                <a:cubicBezTo>
                  <a:pt x="546261" y="1834132"/>
                  <a:pt x="541095" y="1804044"/>
                  <a:pt x="548708" y="1775089"/>
                </a:cubicBezTo>
                <a:cubicBezTo>
                  <a:pt x="559131" y="1736139"/>
                  <a:pt x="594207" y="1697395"/>
                  <a:pt x="645235" y="1668853"/>
                </a:cubicBezTo>
                <a:cubicBezTo>
                  <a:pt x="675145" y="1652057"/>
                  <a:pt x="693181" y="1621659"/>
                  <a:pt x="692909" y="1587243"/>
                </a:cubicBezTo>
                <a:cubicBezTo>
                  <a:pt x="692637" y="1552827"/>
                  <a:pt x="674601" y="1522636"/>
                  <a:pt x="644601" y="1506252"/>
                </a:cubicBezTo>
                <a:lnTo>
                  <a:pt x="0" y="1153540"/>
                </a:lnTo>
                <a:cubicBezTo>
                  <a:pt x="242507" y="727590"/>
                  <a:pt x="618666" y="387294"/>
                  <a:pt x="1071653" y="189304"/>
                </a:cubicBezTo>
                <a:lnTo>
                  <a:pt x="1189482" y="142331"/>
                </a:lnTo>
                <a:lnTo>
                  <a:pt x="1225720" y="129068"/>
                </a:lnTo>
                <a:lnTo>
                  <a:pt x="1347159" y="89679"/>
                </a:lnTo>
                <a:lnTo>
                  <a:pt x="1428280" y="68821"/>
                </a:lnTo>
                <a:lnTo>
                  <a:pt x="1498550" y="51066"/>
                </a:lnTo>
                <a:lnTo>
                  <a:pt x="1582279" y="35755"/>
                </a:lnTo>
                <a:lnTo>
                  <a:pt x="1700830" y="17662"/>
                </a:lnTo>
                <a:lnTo>
                  <a:pt x="1774253" y="9265"/>
                </a:ln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5" name="Freeform: Shape 144">
            <a:extLst>
              <a:ext uri="{FF2B5EF4-FFF2-40B4-BE49-F238E27FC236}">
                <a16:creationId xmlns="" xmlns:a16="http://schemas.microsoft.com/office/drawing/2014/main" id="{B782786F-776A-4AAE-A9CB-5124C78D2B65}"/>
              </a:ext>
            </a:extLst>
          </p:cNvPr>
          <p:cNvSpPr/>
          <p:nvPr/>
        </p:nvSpPr>
        <p:spPr>
          <a:xfrm>
            <a:off x="5765283" y="1304096"/>
            <a:ext cx="2356498" cy="2011704"/>
          </a:xfrm>
          <a:custGeom>
            <a:avLst/>
            <a:gdLst>
              <a:gd name="connsiteX0" fmla="*/ 372214 w 2356498"/>
              <a:gd name="connsiteY0" fmla="*/ 0 h 2011704"/>
              <a:gd name="connsiteX1" fmla="*/ 564447 w 2356498"/>
              <a:gd name="connsiteY1" fmla="*/ 9707 h 2011704"/>
              <a:gd name="connsiteX2" fmla="*/ 2340809 w 2356498"/>
              <a:gd name="connsiteY2" fmla="*/ 1194262 h 2011704"/>
              <a:gd name="connsiteX3" fmla="*/ 2356498 w 2356498"/>
              <a:gd name="connsiteY3" fmla="*/ 1226829 h 2011704"/>
              <a:gd name="connsiteX4" fmla="*/ 1711044 w 2356498"/>
              <a:gd name="connsiteY4" fmla="*/ 1551818 h 2011704"/>
              <a:gd name="connsiteX5" fmla="*/ 1678314 w 2356498"/>
              <a:gd name="connsiteY5" fmla="*/ 1549756 h 2011704"/>
              <a:gd name="connsiteX6" fmla="*/ 1664256 w 2356498"/>
              <a:gd name="connsiteY6" fmla="*/ 1520159 h 2011704"/>
              <a:gd name="connsiteX7" fmla="*/ 1616590 w 2356498"/>
              <a:gd name="connsiteY7" fmla="*/ 1335665 h 2011704"/>
              <a:gd name="connsiteX8" fmla="*/ 1491383 w 2356498"/>
              <a:gd name="connsiteY8" fmla="*/ 1276883 h 2011704"/>
              <a:gd name="connsiteX9" fmla="*/ 1342893 w 2356498"/>
              <a:gd name="connsiteY9" fmla="*/ 1330199 h 2011704"/>
              <a:gd name="connsiteX10" fmla="*/ 1275677 w 2356498"/>
              <a:gd name="connsiteY10" fmla="*/ 1472102 h 2011704"/>
              <a:gd name="connsiteX11" fmla="*/ 1400005 w 2356498"/>
              <a:gd name="connsiteY11" fmla="*/ 1654429 h 2011704"/>
              <a:gd name="connsiteX12" fmla="*/ 1414392 w 2356498"/>
              <a:gd name="connsiteY12" fmla="*/ 1683099 h 2011704"/>
              <a:gd name="connsiteX13" fmla="*/ 1396600 w 2356498"/>
              <a:gd name="connsiteY13" fmla="*/ 1709911 h 2011704"/>
              <a:gd name="connsiteX14" fmla="*/ 796921 w 2356498"/>
              <a:gd name="connsiteY14" fmla="*/ 2011704 h 2011704"/>
              <a:gd name="connsiteX15" fmla="*/ 780576 w 2356498"/>
              <a:gd name="connsiteY15" fmla="*/ 1981689 h 2011704"/>
              <a:gd name="connsiteX16" fmla="*/ 440001 w 2356498"/>
              <a:gd name="connsiteY16" fmla="*/ 1754234 h 2011704"/>
              <a:gd name="connsiteX17" fmla="*/ 372214 w 2356498"/>
              <a:gd name="connsiteY17" fmla="*/ 1747422 h 2011704"/>
              <a:gd name="connsiteX18" fmla="*/ 372214 w 2356498"/>
              <a:gd name="connsiteY18" fmla="*/ 1081664 h 2011704"/>
              <a:gd name="connsiteX19" fmla="*/ 325865 w 2356498"/>
              <a:gd name="connsiteY19" fmla="*/ 1001329 h 2011704"/>
              <a:gd name="connsiteX20" fmla="*/ 232620 w 2356498"/>
              <a:gd name="connsiteY20" fmla="*/ 1001019 h 2011704"/>
              <a:gd name="connsiteX21" fmla="*/ 72597 w 2356498"/>
              <a:gd name="connsiteY21" fmla="*/ 1028657 h 2011704"/>
              <a:gd name="connsiteX22" fmla="*/ 5381 w 2356498"/>
              <a:gd name="connsiteY22" fmla="*/ 942237 h 2011704"/>
              <a:gd name="connsiteX23" fmla="*/ 18451 w 2356498"/>
              <a:gd name="connsiteY23" fmla="*/ 833232 h 2011704"/>
              <a:gd name="connsiteX24" fmla="*/ 89621 w 2356498"/>
              <a:gd name="connsiteY24" fmla="*/ 776513 h 2011704"/>
              <a:gd name="connsiteX25" fmla="*/ 229544 w 2356498"/>
              <a:gd name="connsiteY25" fmla="*/ 809720 h 2011704"/>
              <a:gd name="connsiteX26" fmla="*/ 324328 w 2356498"/>
              <a:gd name="connsiteY26" fmla="*/ 812195 h 2011704"/>
              <a:gd name="connsiteX27" fmla="*/ 372214 w 2356498"/>
              <a:gd name="connsiteY27" fmla="*/ 730828 h 201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356498" h="2011704">
                <a:moveTo>
                  <a:pt x="372214" y="0"/>
                </a:moveTo>
                <a:lnTo>
                  <a:pt x="564447" y="9707"/>
                </a:lnTo>
                <a:cubicBezTo>
                  <a:pt x="1332934" y="87751"/>
                  <a:pt x="1988892" y="546440"/>
                  <a:pt x="2340809" y="1194262"/>
                </a:cubicBezTo>
                <a:lnTo>
                  <a:pt x="2356498" y="1226829"/>
                </a:lnTo>
                <a:lnTo>
                  <a:pt x="1711044" y="1551818"/>
                </a:lnTo>
                <a:cubicBezTo>
                  <a:pt x="1695777" y="1559450"/>
                  <a:pt x="1683257" y="1552747"/>
                  <a:pt x="1678314" y="1549756"/>
                </a:cubicBezTo>
                <a:cubicBezTo>
                  <a:pt x="1673482" y="1546353"/>
                  <a:pt x="1662718" y="1537278"/>
                  <a:pt x="1664256" y="1520159"/>
                </a:cubicBezTo>
                <a:cubicBezTo>
                  <a:pt x="1671285" y="1444979"/>
                  <a:pt x="1654152" y="1379494"/>
                  <a:pt x="1616590" y="1335665"/>
                </a:cubicBezTo>
                <a:cubicBezTo>
                  <a:pt x="1586387" y="1300602"/>
                  <a:pt x="1543004" y="1280183"/>
                  <a:pt x="1491383" y="1276883"/>
                </a:cubicBezTo>
                <a:cubicBezTo>
                  <a:pt x="1438226" y="1273480"/>
                  <a:pt x="1384079" y="1292971"/>
                  <a:pt x="1342893" y="1330199"/>
                </a:cubicBezTo>
                <a:cubicBezTo>
                  <a:pt x="1301597" y="1367325"/>
                  <a:pt x="1277215" y="1419095"/>
                  <a:pt x="1275677" y="1472102"/>
                </a:cubicBezTo>
                <a:cubicBezTo>
                  <a:pt x="1272602" y="1570381"/>
                  <a:pt x="1346298" y="1619160"/>
                  <a:pt x="1400005" y="1654429"/>
                </a:cubicBezTo>
                <a:cubicBezTo>
                  <a:pt x="1414063" y="1663608"/>
                  <a:pt x="1414722" y="1677633"/>
                  <a:pt x="1414392" y="1683099"/>
                </a:cubicBezTo>
                <a:cubicBezTo>
                  <a:pt x="1414063" y="1688564"/>
                  <a:pt x="1411647" y="1702280"/>
                  <a:pt x="1396600" y="1709911"/>
                </a:cubicBezTo>
                <a:lnTo>
                  <a:pt x="796921" y="2011704"/>
                </a:lnTo>
                <a:lnTo>
                  <a:pt x="780576" y="1981689"/>
                </a:lnTo>
                <a:cubicBezTo>
                  <a:pt x="702570" y="1866602"/>
                  <a:pt x="581287" y="1783051"/>
                  <a:pt x="440001" y="1754234"/>
                </a:cubicBezTo>
                <a:lnTo>
                  <a:pt x="372214" y="1747422"/>
                </a:lnTo>
                <a:lnTo>
                  <a:pt x="372214" y="1081664"/>
                </a:lnTo>
                <a:cubicBezTo>
                  <a:pt x="372214" y="1048148"/>
                  <a:pt x="354861" y="1018035"/>
                  <a:pt x="325865" y="1001329"/>
                </a:cubicBezTo>
                <a:cubicBezTo>
                  <a:pt x="296760" y="984519"/>
                  <a:pt x="261944" y="984210"/>
                  <a:pt x="232620" y="1001019"/>
                </a:cubicBezTo>
                <a:cubicBezTo>
                  <a:pt x="172103" y="1035051"/>
                  <a:pt x="125425" y="1057326"/>
                  <a:pt x="72597" y="1028657"/>
                </a:cubicBezTo>
                <a:cubicBezTo>
                  <a:pt x="40197" y="1011332"/>
                  <a:pt x="15705" y="979672"/>
                  <a:pt x="5381" y="942237"/>
                </a:cubicBezTo>
                <a:cubicBezTo>
                  <a:pt x="-5053" y="904802"/>
                  <a:pt x="-111" y="864892"/>
                  <a:pt x="18451" y="833232"/>
                </a:cubicBezTo>
                <a:cubicBezTo>
                  <a:pt x="36463" y="802707"/>
                  <a:pt x="60296" y="783525"/>
                  <a:pt x="89621" y="776513"/>
                </a:cubicBezTo>
                <a:cubicBezTo>
                  <a:pt x="129050" y="766819"/>
                  <a:pt x="180121" y="778988"/>
                  <a:pt x="229544" y="809720"/>
                </a:cubicBezTo>
                <a:cubicBezTo>
                  <a:pt x="258869" y="827973"/>
                  <a:pt x="294015" y="828901"/>
                  <a:pt x="324328" y="812195"/>
                </a:cubicBezTo>
                <a:cubicBezTo>
                  <a:pt x="354202" y="795385"/>
                  <a:pt x="372214" y="764963"/>
                  <a:pt x="372214" y="730828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3" name="Freeform: Shape 152">
            <a:extLst>
              <a:ext uri="{FF2B5EF4-FFF2-40B4-BE49-F238E27FC236}">
                <a16:creationId xmlns="" xmlns:a16="http://schemas.microsoft.com/office/drawing/2014/main" id="{E9F767C8-259F-4A38-826A-8925BF656992}"/>
              </a:ext>
            </a:extLst>
          </p:cNvPr>
          <p:cNvSpPr/>
          <p:nvPr/>
        </p:nvSpPr>
        <p:spPr>
          <a:xfrm>
            <a:off x="3810018" y="2520064"/>
            <a:ext cx="1797361" cy="2067637"/>
          </a:xfrm>
          <a:custGeom>
            <a:avLst/>
            <a:gdLst>
              <a:gd name="connsiteX0" fmla="*/ 267357 w 1797361"/>
              <a:gd name="connsiteY0" fmla="*/ 0 h 2067637"/>
              <a:gd name="connsiteX1" fmla="*/ 912260 w 1797361"/>
              <a:gd name="connsiteY1" fmla="*/ 352608 h 2067637"/>
              <a:gd name="connsiteX2" fmla="*/ 929009 w 1797361"/>
              <a:gd name="connsiteY2" fmla="*/ 380659 h 2067637"/>
              <a:gd name="connsiteX3" fmla="*/ 912568 w 1797361"/>
              <a:gd name="connsiteY3" fmla="*/ 408998 h 2067637"/>
              <a:gd name="connsiteX4" fmla="*/ 786691 w 1797361"/>
              <a:gd name="connsiteY4" fmla="*/ 552703 h 2067637"/>
              <a:gd name="connsiteX5" fmla="*/ 808989 w 1797361"/>
              <a:gd name="connsiteY5" fmla="*/ 688844 h 2067637"/>
              <a:gd name="connsiteX6" fmla="*/ 937024 w 1797361"/>
              <a:gd name="connsiteY6" fmla="*/ 780754 h 2067637"/>
              <a:gd name="connsiteX7" fmla="*/ 1092496 w 1797361"/>
              <a:gd name="connsiteY7" fmla="*/ 755479 h 2067637"/>
              <a:gd name="connsiteX8" fmla="*/ 1173160 w 1797361"/>
              <a:gd name="connsiteY8" fmla="*/ 549926 h 2067637"/>
              <a:gd name="connsiteX9" fmla="*/ 1188779 w 1797361"/>
              <a:gd name="connsiteY9" fmla="*/ 521971 h 2067637"/>
              <a:gd name="connsiteX10" fmla="*/ 1220839 w 1797361"/>
              <a:gd name="connsiteY10" fmla="*/ 521300 h 2067637"/>
              <a:gd name="connsiteX11" fmla="*/ 1797361 w 1797361"/>
              <a:gd name="connsiteY11" fmla="*/ 836659 h 2067637"/>
              <a:gd name="connsiteX12" fmla="*/ 1785964 w 1797361"/>
              <a:gd name="connsiteY12" fmla="*/ 857587 h 2067637"/>
              <a:gd name="connsiteX13" fmla="*/ 1743324 w 1797361"/>
              <a:gd name="connsiteY13" fmla="*/ 1068099 h 2067637"/>
              <a:gd name="connsiteX14" fmla="*/ 1785964 w 1797361"/>
              <a:gd name="connsiteY14" fmla="*/ 1278611 h 2067637"/>
              <a:gd name="connsiteX15" fmla="*/ 1789042 w 1797361"/>
              <a:gd name="connsiteY15" fmla="*/ 1284263 h 2067637"/>
              <a:gd name="connsiteX16" fmla="*/ 1202445 w 1797361"/>
              <a:gd name="connsiteY16" fmla="*/ 1579506 h 2067637"/>
              <a:gd name="connsiteX17" fmla="*/ 1151478 w 1797361"/>
              <a:gd name="connsiteY17" fmla="*/ 1657151 h 2067637"/>
              <a:gd name="connsiteX18" fmla="*/ 1192992 w 1797361"/>
              <a:gd name="connsiteY18" fmla="*/ 1740348 h 2067637"/>
              <a:gd name="connsiteX19" fmla="*/ 1289892 w 1797361"/>
              <a:gd name="connsiteY19" fmla="*/ 1870075 h 2067637"/>
              <a:gd name="connsiteX20" fmla="*/ 1242829 w 1797361"/>
              <a:gd name="connsiteY20" fmla="*/ 1968974 h 2067637"/>
              <a:gd name="connsiteX21" fmla="*/ 1139250 w 1797361"/>
              <a:gd name="connsiteY21" fmla="*/ 2006504 h 2067637"/>
              <a:gd name="connsiteX22" fmla="*/ 1056428 w 1797361"/>
              <a:gd name="connsiteY22" fmla="*/ 1968687 h 2067637"/>
              <a:gd name="connsiteX23" fmla="*/ 1023135 w 1797361"/>
              <a:gd name="connsiteY23" fmla="*/ 1829194 h 2067637"/>
              <a:gd name="connsiteX24" fmla="*/ 982546 w 1797361"/>
              <a:gd name="connsiteY24" fmla="*/ 1743987 h 2067637"/>
              <a:gd name="connsiteX25" fmla="*/ 888112 w 1797361"/>
              <a:gd name="connsiteY25" fmla="*/ 1737572 h 2067637"/>
              <a:gd name="connsiteX26" fmla="*/ 232563 w 1797361"/>
              <a:gd name="connsiteY26" fmla="*/ 2067637 h 2067637"/>
              <a:gd name="connsiteX27" fmla="*/ 225990 w 1797361"/>
              <a:gd name="connsiteY27" fmla="*/ 2053993 h 2067637"/>
              <a:gd name="connsiteX28" fmla="*/ 143713 w 1797361"/>
              <a:gd name="connsiteY28" fmla="*/ 1859623 h 2067637"/>
              <a:gd name="connsiteX29" fmla="*/ 127229 w 1797361"/>
              <a:gd name="connsiteY29" fmla="*/ 1814587 h 2067637"/>
              <a:gd name="connsiteX30" fmla="*/ 72805 w 1797361"/>
              <a:gd name="connsiteY30" fmla="*/ 1631236 h 2067637"/>
              <a:gd name="connsiteX31" fmla="*/ 56915 w 1797361"/>
              <a:gd name="connsiteY31" fmla="*/ 1569439 h 2067637"/>
              <a:gd name="connsiteX32" fmla="*/ 24950 w 1797361"/>
              <a:gd name="connsiteY32" fmla="*/ 1387930 h 2067637"/>
              <a:gd name="connsiteX33" fmla="*/ 13706 w 1797361"/>
              <a:gd name="connsiteY33" fmla="*/ 1314258 h 2067637"/>
              <a:gd name="connsiteX34" fmla="*/ 10680 w 1797361"/>
              <a:gd name="connsiteY34" fmla="*/ 1279791 h 2067637"/>
              <a:gd name="connsiteX35" fmla="*/ 0 w 1797361"/>
              <a:gd name="connsiteY35" fmla="*/ 1068279 h 2067637"/>
              <a:gd name="connsiteX36" fmla="*/ 56 w 1797361"/>
              <a:gd name="connsiteY36" fmla="*/ 1066483 h 2067637"/>
              <a:gd name="connsiteX37" fmla="*/ 10355 w 1797361"/>
              <a:gd name="connsiteY37" fmla="*/ 862515 h 2067637"/>
              <a:gd name="connsiteX38" fmla="*/ 14998 w 1797361"/>
              <a:gd name="connsiteY38" fmla="*/ 813156 h 2067637"/>
              <a:gd name="connsiteX39" fmla="*/ 43046 w 1797361"/>
              <a:gd name="connsiteY39" fmla="*/ 629373 h 2067637"/>
              <a:gd name="connsiteX40" fmla="*/ 57476 w 1797361"/>
              <a:gd name="connsiteY40" fmla="*/ 564253 h 2067637"/>
              <a:gd name="connsiteX41" fmla="*/ 88466 w 1797361"/>
              <a:gd name="connsiteY41" fmla="*/ 443729 h 2067637"/>
              <a:gd name="connsiteX42" fmla="*/ 107798 w 1797361"/>
              <a:gd name="connsiteY42" fmla="*/ 376405 h 2067637"/>
              <a:gd name="connsiteX43" fmla="*/ 130737 w 1797361"/>
              <a:gd name="connsiteY43" fmla="*/ 311702 h 2067637"/>
              <a:gd name="connsiteX44" fmla="*/ 157234 w 1797361"/>
              <a:gd name="connsiteY44" fmla="*/ 239308 h 206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797361" h="2067637">
                <a:moveTo>
                  <a:pt x="267357" y="0"/>
                </a:moveTo>
                <a:lnTo>
                  <a:pt x="912260" y="352608"/>
                </a:lnTo>
                <a:cubicBezTo>
                  <a:pt x="927262" y="360841"/>
                  <a:pt x="929009" y="374819"/>
                  <a:pt x="929009" y="380659"/>
                </a:cubicBezTo>
                <a:cubicBezTo>
                  <a:pt x="929009" y="386404"/>
                  <a:pt x="927571" y="400765"/>
                  <a:pt x="912568" y="408998"/>
                </a:cubicBezTo>
                <a:cubicBezTo>
                  <a:pt x="846290" y="446145"/>
                  <a:pt x="801693" y="496983"/>
                  <a:pt x="786691" y="552703"/>
                </a:cubicBezTo>
                <a:cubicBezTo>
                  <a:pt x="774771" y="597413"/>
                  <a:pt x="782375" y="644325"/>
                  <a:pt x="808989" y="688844"/>
                </a:cubicBezTo>
                <a:cubicBezTo>
                  <a:pt x="836220" y="734512"/>
                  <a:pt x="882871" y="768020"/>
                  <a:pt x="937024" y="780754"/>
                </a:cubicBezTo>
                <a:cubicBezTo>
                  <a:pt x="991074" y="793296"/>
                  <a:pt x="1047899" y="784105"/>
                  <a:pt x="1092496" y="755479"/>
                </a:cubicBezTo>
                <a:cubicBezTo>
                  <a:pt x="1175626" y="702248"/>
                  <a:pt x="1174393" y="614168"/>
                  <a:pt x="1173160" y="549926"/>
                </a:cubicBezTo>
                <a:cubicBezTo>
                  <a:pt x="1172851" y="533172"/>
                  <a:pt x="1184155" y="524651"/>
                  <a:pt x="1188779" y="521971"/>
                </a:cubicBezTo>
                <a:cubicBezTo>
                  <a:pt x="1193300" y="519194"/>
                  <a:pt x="1206145" y="513450"/>
                  <a:pt x="1220839" y="521300"/>
                </a:cubicBezTo>
                <a:lnTo>
                  <a:pt x="1797361" y="836659"/>
                </a:lnTo>
                <a:lnTo>
                  <a:pt x="1785964" y="857587"/>
                </a:lnTo>
                <a:cubicBezTo>
                  <a:pt x="1758507" y="922290"/>
                  <a:pt x="1743324" y="993427"/>
                  <a:pt x="1743324" y="1068099"/>
                </a:cubicBezTo>
                <a:cubicBezTo>
                  <a:pt x="1743324" y="1142771"/>
                  <a:pt x="1758507" y="1213908"/>
                  <a:pt x="1785964" y="1278611"/>
                </a:cubicBezTo>
                <a:lnTo>
                  <a:pt x="1789042" y="1284263"/>
                </a:lnTo>
                <a:lnTo>
                  <a:pt x="1202445" y="1579506"/>
                </a:lnTo>
                <a:cubicBezTo>
                  <a:pt x="1172543" y="1594729"/>
                  <a:pt x="1153328" y="1623642"/>
                  <a:pt x="1151478" y="1657151"/>
                </a:cubicBezTo>
                <a:cubicBezTo>
                  <a:pt x="1149320" y="1690660"/>
                  <a:pt x="1164939" y="1721775"/>
                  <a:pt x="1192992" y="1740348"/>
                </a:cubicBezTo>
                <a:cubicBezTo>
                  <a:pt x="1250741" y="1778357"/>
                  <a:pt x="1291741" y="1810047"/>
                  <a:pt x="1289892" y="1870075"/>
                </a:cubicBezTo>
                <a:cubicBezTo>
                  <a:pt x="1288967" y="1906839"/>
                  <a:pt x="1271498" y="1942837"/>
                  <a:pt x="1242829" y="1968974"/>
                </a:cubicBezTo>
                <a:cubicBezTo>
                  <a:pt x="1213749" y="1995206"/>
                  <a:pt x="1176242" y="2008897"/>
                  <a:pt x="1139250" y="2006504"/>
                </a:cubicBezTo>
                <a:cubicBezTo>
                  <a:pt x="1103799" y="2004014"/>
                  <a:pt x="1075952" y="1991568"/>
                  <a:pt x="1056428" y="1968687"/>
                </a:cubicBezTo>
                <a:cubicBezTo>
                  <a:pt x="1030122" y="1938241"/>
                  <a:pt x="1017997" y="1887117"/>
                  <a:pt x="1023135" y="1829194"/>
                </a:cubicBezTo>
                <a:cubicBezTo>
                  <a:pt x="1026217" y="1795111"/>
                  <a:pt x="1010906" y="1763134"/>
                  <a:pt x="982546" y="1743987"/>
                </a:cubicBezTo>
                <a:cubicBezTo>
                  <a:pt x="954082" y="1724743"/>
                  <a:pt x="918939" y="1722349"/>
                  <a:pt x="888112" y="1737572"/>
                </a:cubicBezTo>
                <a:lnTo>
                  <a:pt x="232563" y="2067637"/>
                </a:lnTo>
                <a:lnTo>
                  <a:pt x="225990" y="2053993"/>
                </a:lnTo>
                <a:lnTo>
                  <a:pt x="143713" y="1859623"/>
                </a:lnTo>
                <a:lnTo>
                  <a:pt x="127229" y="1814587"/>
                </a:lnTo>
                <a:lnTo>
                  <a:pt x="72805" y="1631236"/>
                </a:lnTo>
                <a:lnTo>
                  <a:pt x="56915" y="1569439"/>
                </a:lnTo>
                <a:lnTo>
                  <a:pt x="24950" y="1387930"/>
                </a:lnTo>
                <a:lnTo>
                  <a:pt x="13706" y="1314258"/>
                </a:lnTo>
                <a:lnTo>
                  <a:pt x="10680" y="1279791"/>
                </a:lnTo>
                <a:lnTo>
                  <a:pt x="0" y="1068279"/>
                </a:lnTo>
                <a:lnTo>
                  <a:pt x="56" y="1066483"/>
                </a:lnTo>
                <a:lnTo>
                  <a:pt x="10355" y="862515"/>
                </a:lnTo>
                <a:lnTo>
                  <a:pt x="14998" y="813156"/>
                </a:lnTo>
                <a:lnTo>
                  <a:pt x="43046" y="629373"/>
                </a:lnTo>
                <a:lnTo>
                  <a:pt x="57476" y="564253"/>
                </a:lnTo>
                <a:lnTo>
                  <a:pt x="88466" y="443729"/>
                </a:lnTo>
                <a:lnTo>
                  <a:pt x="107798" y="376405"/>
                </a:lnTo>
                <a:lnTo>
                  <a:pt x="130737" y="311702"/>
                </a:lnTo>
                <a:lnTo>
                  <a:pt x="157234" y="239308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7" name="Freeform: Shape 146">
            <a:extLst>
              <a:ext uri="{FF2B5EF4-FFF2-40B4-BE49-F238E27FC236}">
                <a16:creationId xmlns="" xmlns:a16="http://schemas.microsoft.com/office/drawing/2014/main" id="{ED44E773-250A-4267-9047-7649A0770CB2}"/>
              </a:ext>
            </a:extLst>
          </p:cNvPr>
          <p:cNvSpPr/>
          <p:nvPr/>
        </p:nvSpPr>
        <p:spPr>
          <a:xfrm>
            <a:off x="6587594" y="2582664"/>
            <a:ext cx="1794255" cy="2066270"/>
          </a:xfrm>
          <a:custGeom>
            <a:avLst/>
            <a:gdLst>
              <a:gd name="connsiteX0" fmla="*/ 1559112 w 1794255"/>
              <a:gd name="connsiteY0" fmla="*/ 0 h 2066270"/>
              <a:gd name="connsiteX1" fmla="*/ 1593182 w 1794255"/>
              <a:gd name="connsiteY1" fmla="*/ 70724 h 2066270"/>
              <a:gd name="connsiteX2" fmla="*/ 1631163 w 1794255"/>
              <a:gd name="connsiteY2" fmla="*/ 160332 h 2066270"/>
              <a:gd name="connsiteX3" fmla="*/ 1678830 w 1794255"/>
              <a:gd name="connsiteY3" fmla="*/ 290569 h 2066270"/>
              <a:gd name="connsiteX4" fmla="*/ 1707339 w 1794255"/>
              <a:gd name="connsiteY4" fmla="*/ 386631 h 2066270"/>
              <a:gd name="connsiteX5" fmla="*/ 1741718 w 1794255"/>
              <a:gd name="connsiteY5" fmla="*/ 520333 h 2066270"/>
              <a:gd name="connsiteX6" fmla="*/ 1760957 w 1794255"/>
              <a:gd name="connsiteY6" fmla="*/ 629759 h 2066270"/>
              <a:gd name="connsiteX7" fmla="*/ 1782213 w 1794255"/>
              <a:gd name="connsiteY7" fmla="*/ 769036 h 2066270"/>
              <a:gd name="connsiteX8" fmla="*/ 1782833 w 1794255"/>
              <a:gd name="connsiteY8" fmla="*/ 776115 h 2066270"/>
              <a:gd name="connsiteX9" fmla="*/ 1794255 w 1794255"/>
              <a:gd name="connsiteY9" fmla="*/ 1002317 h 2066270"/>
              <a:gd name="connsiteX10" fmla="*/ 1793760 w 1794255"/>
              <a:gd name="connsiteY10" fmla="*/ 1018152 h 2066270"/>
              <a:gd name="connsiteX11" fmla="*/ 1784798 w 1794255"/>
              <a:gd name="connsiteY11" fmla="*/ 1195636 h 2066270"/>
              <a:gd name="connsiteX12" fmla="*/ 1777676 w 1794255"/>
              <a:gd name="connsiteY12" fmla="*/ 1271362 h 2066270"/>
              <a:gd name="connsiteX13" fmla="*/ 1754778 w 1794255"/>
              <a:gd name="connsiteY13" fmla="*/ 1421401 h 2066270"/>
              <a:gd name="connsiteX14" fmla="*/ 1725687 w 1794255"/>
              <a:gd name="connsiteY14" fmla="*/ 1552682 h 2066270"/>
              <a:gd name="connsiteX15" fmla="*/ 1723150 w 1794255"/>
              <a:gd name="connsiteY15" fmla="*/ 1562550 h 2066270"/>
              <a:gd name="connsiteX16" fmla="*/ 1686592 w 1794255"/>
              <a:gd name="connsiteY16" fmla="*/ 1689865 h 2066270"/>
              <a:gd name="connsiteX17" fmla="*/ 1527033 w 1794255"/>
              <a:gd name="connsiteY17" fmla="*/ 2066270 h 2066270"/>
              <a:gd name="connsiteX18" fmla="*/ 882131 w 1794255"/>
              <a:gd name="connsiteY18" fmla="*/ 1713662 h 2066270"/>
              <a:gd name="connsiteX19" fmla="*/ 865381 w 1794255"/>
              <a:gd name="connsiteY19" fmla="*/ 1685611 h 2066270"/>
              <a:gd name="connsiteX20" fmla="*/ 881822 w 1794255"/>
              <a:gd name="connsiteY20" fmla="*/ 1657655 h 2066270"/>
              <a:gd name="connsiteX21" fmla="*/ 1007700 w 1794255"/>
              <a:gd name="connsiteY21" fmla="*/ 1513855 h 2066270"/>
              <a:gd name="connsiteX22" fmla="*/ 985401 w 1794255"/>
              <a:gd name="connsiteY22" fmla="*/ 1377426 h 2066270"/>
              <a:gd name="connsiteX23" fmla="*/ 857366 w 1794255"/>
              <a:gd name="connsiteY23" fmla="*/ 1285517 h 2066270"/>
              <a:gd name="connsiteX24" fmla="*/ 701895 w 1794255"/>
              <a:gd name="connsiteY24" fmla="*/ 1310792 h 2066270"/>
              <a:gd name="connsiteX25" fmla="*/ 621231 w 1794255"/>
              <a:gd name="connsiteY25" fmla="*/ 1516344 h 2066270"/>
              <a:gd name="connsiteX26" fmla="*/ 605612 w 1794255"/>
              <a:gd name="connsiteY26" fmla="*/ 1544300 h 2066270"/>
              <a:gd name="connsiteX27" fmla="*/ 573551 w 1794255"/>
              <a:gd name="connsiteY27" fmla="*/ 1544970 h 2066270"/>
              <a:gd name="connsiteX28" fmla="*/ 0 w 1794255"/>
              <a:gd name="connsiteY28" fmla="*/ 1231237 h 2066270"/>
              <a:gd name="connsiteX29" fmla="*/ 8292 w 1794255"/>
              <a:gd name="connsiteY29" fmla="*/ 1216011 h 2066270"/>
              <a:gd name="connsiteX30" fmla="*/ 50931 w 1794255"/>
              <a:gd name="connsiteY30" fmla="*/ 1005499 h 2066270"/>
              <a:gd name="connsiteX31" fmla="*/ 8292 w 1794255"/>
              <a:gd name="connsiteY31" fmla="*/ 794987 h 2066270"/>
              <a:gd name="connsiteX32" fmla="*/ 2111 w 1794255"/>
              <a:gd name="connsiteY32" fmla="*/ 783638 h 2066270"/>
              <a:gd name="connsiteX33" fmla="*/ 591945 w 1794255"/>
              <a:gd name="connsiteY33" fmla="*/ 486764 h 2066270"/>
              <a:gd name="connsiteX34" fmla="*/ 642912 w 1794255"/>
              <a:gd name="connsiteY34" fmla="*/ 409119 h 2066270"/>
              <a:gd name="connsiteX35" fmla="*/ 601399 w 1794255"/>
              <a:gd name="connsiteY35" fmla="*/ 325922 h 2066270"/>
              <a:gd name="connsiteX36" fmla="*/ 504499 w 1794255"/>
              <a:gd name="connsiteY36" fmla="*/ 196195 h 2066270"/>
              <a:gd name="connsiteX37" fmla="*/ 551561 w 1794255"/>
              <a:gd name="connsiteY37" fmla="*/ 97297 h 2066270"/>
              <a:gd name="connsiteX38" fmla="*/ 655140 w 1794255"/>
              <a:gd name="connsiteY38" fmla="*/ 59767 h 2066270"/>
              <a:gd name="connsiteX39" fmla="*/ 737963 w 1794255"/>
              <a:gd name="connsiteY39" fmla="*/ 97584 h 2066270"/>
              <a:gd name="connsiteX40" fmla="*/ 771256 w 1794255"/>
              <a:gd name="connsiteY40" fmla="*/ 237076 h 2066270"/>
              <a:gd name="connsiteX41" fmla="*/ 811845 w 1794255"/>
              <a:gd name="connsiteY41" fmla="*/ 322284 h 2066270"/>
              <a:gd name="connsiteX42" fmla="*/ 906279 w 1794255"/>
              <a:gd name="connsiteY42" fmla="*/ 328698 h 206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794255" h="2066270">
                <a:moveTo>
                  <a:pt x="1559112" y="0"/>
                </a:moveTo>
                <a:lnTo>
                  <a:pt x="1593182" y="70724"/>
                </a:lnTo>
                <a:lnTo>
                  <a:pt x="1631163" y="160332"/>
                </a:lnTo>
                <a:lnTo>
                  <a:pt x="1678830" y="290569"/>
                </a:lnTo>
                <a:lnTo>
                  <a:pt x="1707339" y="386631"/>
                </a:lnTo>
                <a:lnTo>
                  <a:pt x="1741718" y="520333"/>
                </a:lnTo>
                <a:lnTo>
                  <a:pt x="1760957" y="629759"/>
                </a:lnTo>
                <a:lnTo>
                  <a:pt x="1782213" y="769036"/>
                </a:lnTo>
                <a:lnTo>
                  <a:pt x="1782833" y="776115"/>
                </a:lnTo>
                <a:lnTo>
                  <a:pt x="1794255" y="1002317"/>
                </a:lnTo>
                <a:lnTo>
                  <a:pt x="1793760" y="1018152"/>
                </a:lnTo>
                <a:lnTo>
                  <a:pt x="1784798" y="1195636"/>
                </a:lnTo>
                <a:lnTo>
                  <a:pt x="1777676" y="1271362"/>
                </a:lnTo>
                <a:lnTo>
                  <a:pt x="1754778" y="1421401"/>
                </a:lnTo>
                <a:lnTo>
                  <a:pt x="1725687" y="1552682"/>
                </a:lnTo>
                <a:lnTo>
                  <a:pt x="1723150" y="1562550"/>
                </a:lnTo>
                <a:lnTo>
                  <a:pt x="1686592" y="1689865"/>
                </a:lnTo>
                <a:cubicBezTo>
                  <a:pt x="1644591" y="1820861"/>
                  <a:pt x="1591000" y="1946716"/>
                  <a:pt x="1527033" y="2066270"/>
                </a:cubicBezTo>
                <a:lnTo>
                  <a:pt x="882131" y="1713662"/>
                </a:lnTo>
                <a:cubicBezTo>
                  <a:pt x="867128" y="1705429"/>
                  <a:pt x="865381" y="1691451"/>
                  <a:pt x="865381" y="1685611"/>
                </a:cubicBezTo>
                <a:cubicBezTo>
                  <a:pt x="865381" y="1680154"/>
                  <a:pt x="866923" y="1665793"/>
                  <a:pt x="881822" y="1657655"/>
                </a:cubicBezTo>
                <a:cubicBezTo>
                  <a:pt x="948101" y="1620412"/>
                  <a:pt x="992697" y="1569575"/>
                  <a:pt x="1007700" y="1513855"/>
                </a:cubicBezTo>
                <a:cubicBezTo>
                  <a:pt x="1019619" y="1469144"/>
                  <a:pt x="1012015" y="1421945"/>
                  <a:pt x="985401" y="1377426"/>
                </a:cubicBezTo>
                <a:cubicBezTo>
                  <a:pt x="958171" y="1331759"/>
                  <a:pt x="911519" y="1298250"/>
                  <a:pt x="857366" y="1285517"/>
                </a:cubicBezTo>
                <a:cubicBezTo>
                  <a:pt x="803316" y="1272975"/>
                  <a:pt x="746800" y="1282166"/>
                  <a:pt x="701895" y="1310792"/>
                </a:cubicBezTo>
                <a:cubicBezTo>
                  <a:pt x="618764" y="1364023"/>
                  <a:pt x="619998" y="1452103"/>
                  <a:pt x="621231" y="1516344"/>
                </a:cubicBezTo>
                <a:cubicBezTo>
                  <a:pt x="621539" y="1533098"/>
                  <a:pt x="610544" y="1541619"/>
                  <a:pt x="605612" y="1544300"/>
                </a:cubicBezTo>
                <a:cubicBezTo>
                  <a:pt x="600782" y="1547076"/>
                  <a:pt x="588246" y="1552821"/>
                  <a:pt x="573551" y="1544970"/>
                </a:cubicBezTo>
                <a:lnTo>
                  <a:pt x="0" y="1231237"/>
                </a:lnTo>
                <a:lnTo>
                  <a:pt x="8292" y="1216011"/>
                </a:lnTo>
                <a:cubicBezTo>
                  <a:pt x="35748" y="1151308"/>
                  <a:pt x="50931" y="1080171"/>
                  <a:pt x="50931" y="1005499"/>
                </a:cubicBezTo>
                <a:cubicBezTo>
                  <a:pt x="50931" y="930827"/>
                  <a:pt x="35748" y="859690"/>
                  <a:pt x="8292" y="794987"/>
                </a:cubicBezTo>
                <a:lnTo>
                  <a:pt x="2111" y="783638"/>
                </a:lnTo>
                <a:lnTo>
                  <a:pt x="591945" y="486764"/>
                </a:lnTo>
                <a:cubicBezTo>
                  <a:pt x="621847" y="471541"/>
                  <a:pt x="641063" y="442628"/>
                  <a:pt x="642912" y="409119"/>
                </a:cubicBezTo>
                <a:cubicBezTo>
                  <a:pt x="645070" y="375611"/>
                  <a:pt x="629451" y="344495"/>
                  <a:pt x="601399" y="325922"/>
                </a:cubicBezTo>
                <a:cubicBezTo>
                  <a:pt x="543649" y="287913"/>
                  <a:pt x="502649" y="256224"/>
                  <a:pt x="504499" y="196195"/>
                </a:cubicBezTo>
                <a:cubicBezTo>
                  <a:pt x="505424" y="159431"/>
                  <a:pt x="522892" y="123433"/>
                  <a:pt x="551561" y="97297"/>
                </a:cubicBezTo>
                <a:cubicBezTo>
                  <a:pt x="580642" y="71064"/>
                  <a:pt x="618764" y="57373"/>
                  <a:pt x="655140" y="59767"/>
                </a:cubicBezTo>
                <a:cubicBezTo>
                  <a:pt x="690592" y="62256"/>
                  <a:pt x="718439" y="74702"/>
                  <a:pt x="737963" y="97584"/>
                </a:cubicBezTo>
                <a:cubicBezTo>
                  <a:pt x="764474" y="128316"/>
                  <a:pt x="776394" y="179154"/>
                  <a:pt x="771256" y="237076"/>
                </a:cubicBezTo>
                <a:cubicBezTo>
                  <a:pt x="768173" y="271159"/>
                  <a:pt x="783484" y="303136"/>
                  <a:pt x="811845" y="322284"/>
                </a:cubicBezTo>
                <a:cubicBezTo>
                  <a:pt x="840617" y="341527"/>
                  <a:pt x="875760" y="343921"/>
                  <a:pt x="906279" y="328698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1" name="Freeform: Shape 150">
            <a:extLst>
              <a:ext uri="{FF2B5EF4-FFF2-40B4-BE49-F238E27FC236}">
                <a16:creationId xmlns="" xmlns:a16="http://schemas.microsoft.com/office/drawing/2014/main" id="{50734D12-CA94-47A2-8206-5A9223ECA28B}"/>
              </a:ext>
            </a:extLst>
          </p:cNvPr>
          <p:cNvSpPr/>
          <p:nvPr/>
        </p:nvSpPr>
        <p:spPr>
          <a:xfrm>
            <a:off x="4084963" y="3870659"/>
            <a:ext cx="2367279" cy="2002519"/>
          </a:xfrm>
          <a:custGeom>
            <a:avLst/>
            <a:gdLst>
              <a:gd name="connsiteX0" fmla="*/ 1550217 w 2367279"/>
              <a:gd name="connsiteY0" fmla="*/ 0 h 2002519"/>
              <a:gd name="connsiteX1" fmla="*/ 1561045 w 2367279"/>
              <a:gd name="connsiteY1" fmla="*/ 19882 h 2002519"/>
              <a:gd name="connsiteX2" fmla="*/ 1901619 w 2367279"/>
              <a:gd name="connsiteY2" fmla="*/ 247338 h 2002519"/>
              <a:gd name="connsiteX3" fmla="*/ 1995066 w 2367279"/>
              <a:gd name="connsiteY3" fmla="*/ 256727 h 2002519"/>
              <a:gd name="connsiteX4" fmla="*/ 1995066 w 2367279"/>
              <a:gd name="connsiteY4" fmla="*/ 919836 h 2002519"/>
              <a:gd name="connsiteX5" fmla="*/ 2041414 w 2367279"/>
              <a:gd name="connsiteY5" fmla="*/ 1000264 h 2002519"/>
              <a:gd name="connsiteX6" fmla="*/ 2134660 w 2367279"/>
              <a:gd name="connsiteY6" fmla="*/ 1000573 h 2002519"/>
              <a:gd name="connsiteX7" fmla="*/ 2294682 w 2367279"/>
              <a:gd name="connsiteY7" fmla="*/ 972836 h 2002519"/>
              <a:gd name="connsiteX8" fmla="*/ 2361898 w 2367279"/>
              <a:gd name="connsiteY8" fmla="*/ 1059347 h 2002519"/>
              <a:gd name="connsiteX9" fmla="*/ 2348829 w 2367279"/>
              <a:gd name="connsiteY9" fmla="*/ 1168337 h 2002519"/>
              <a:gd name="connsiteX10" fmla="*/ 2277659 w 2367279"/>
              <a:gd name="connsiteY10" fmla="*/ 1225049 h 2002519"/>
              <a:gd name="connsiteX11" fmla="*/ 2137735 w 2367279"/>
              <a:gd name="connsiteY11" fmla="*/ 1191847 h 2002519"/>
              <a:gd name="connsiteX12" fmla="*/ 2042952 w 2367279"/>
              <a:gd name="connsiteY12" fmla="*/ 1189372 h 2002519"/>
              <a:gd name="connsiteX13" fmla="*/ 1994736 w 2367279"/>
              <a:gd name="connsiteY13" fmla="*/ 1270419 h 2002519"/>
              <a:gd name="connsiteX14" fmla="*/ 1994736 w 2367279"/>
              <a:gd name="connsiteY14" fmla="*/ 2002519 h 2002519"/>
              <a:gd name="connsiteX15" fmla="*/ 1814712 w 2367279"/>
              <a:gd name="connsiteY15" fmla="*/ 1993429 h 2002519"/>
              <a:gd name="connsiteX16" fmla="*/ 1705046 w 2367279"/>
              <a:gd name="connsiteY16" fmla="*/ 1980512 h 2002519"/>
              <a:gd name="connsiteX17" fmla="*/ 1646915 w 2367279"/>
              <a:gd name="connsiteY17" fmla="*/ 1971640 h 2002519"/>
              <a:gd name="connsiteX18" fmla="*/ 1520890 w 2367279"/>
              <a:gd name="connsiteY18" fmla="*/ 1947860 h 2002519"/>
              <a:gd name="connsiteX19" fmla="*/ 0 w 2367279"/>
              <a:gd name="connsiteY19" fmla="*/ 779809 h 2002519"/>
              <a:gd name="connsiteX20" fmla="*/ 656236 w 2367279"/>
              <a:gd name="connsiteY20" fmla="*/ 449437 h 2002519"/>
              <a:gd name="connsiteX21" fmla="*/ 688965 w 2367279"/>
              <a:gd name="connsiteY21" fmla="*/ 451499 h 2002519"/>
              <a:gd name="connsiteX22" fmla="*/ 703023 w 2367279"/>
              <a:gd name="connsiteY22" fmla="*/ 481092 h 2002519"/>
              <a:gd name="connsiteX23" fmla="*/ 750690 w 2367279"/>
              <a:gd name="connsiteY23" fmla="*/ 665870 h 2002519"/>
              <a:gd name="connsiteX24" fmla="*/ 875896 w 2367279"/>
              <a:gd name="connsiteY24" fmla="*/ 724644 h 2002519"/>
              <a:gd name="connsiteX25" fmla="*/ 1024386 w 2367279"/>
              <a:gd name="connsiteY25" fmla="*/ 671438 h 2002519"/>
              <a:gd name="connsiteX26" fmla="*/ 1091602 w 2367279"/>
              <a:gd name="connsiteY26" fmla="*/ 529452 h 2002519"/>
              <a:gd name="connsiteX27" fmla="*/ 967275 w 2367279"/>
              <a:gd name="connsiteY27" fmla="*/ 347046 h 2002519"/>
              <a:gd name="connsiteX28" fmla="*/ 952887 w 2367279"/>
              <a:gd name="connsiteY28" fmla="*/ 318484 h 2002519"/>
              <a:gd name="connsiteX29" fmla="*/ 970679 w 2367279"/>
              <a:gd name="connsiteY29" fmla="*/ 291675 h 200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367279" h="2002519">
                <a:moveTo>
                  <a:pt x="1550217" y="0"/>
                </a:moveTo>
                <a:lnTo>
                  <a:pt x="1561045" y="19882"/>
                </a:lnTo>
                <a:cubicBezTo>
                  <a:pt x="1639051" y="134970"/>
                  <a:pt x="1760333" y="218521"/>
                  <a:pt x="1901619" y="247338"/>
                </a:cubicBezTo>
                <a:lnTo>
                  <a:pt x="1995066" y="256727"/>
                </a:lnTo>
                <a:lnTo>
                  <a:pt x="1995066" y="919836"/>
                </a:lnTo>
                <a:cubicBezTo>
                  <a:pt x="1995066" y="953348"/>
                  <a:pt x="2012419" y="983560"/>
                  <a:pt x="2041414" y="1000264"/>
                </a:cubicBezTo>
                <a:cubicBezTo>
                  <a:pt x="2070519" y="1016968"/>
                  <a:pt x="2105335" y="1017277"/>
                  <a:pt x="2134660" y="1000573"/>
                </a:cubicBezTo>
                <a:cubicBezTo>
                  <a:pt x="2195176" y="966443"/>
                  <a:pt x="2241854" y="944274"/>
                  <a:pt x="2294682" y="972836"/>
                </a:cubicBezTo>
                <a:cubicBezTo>
                  <a:pt x="2327082" y="990262"/>
                  <a:pt x="2351574" y="1021917"/>
                  <a:pt x="2361898" y="1059347"/>
                </a:cubicBezTo>
                <a:cubicBezTo>
                  <a:pt x="2372332" y="1096777"/>
                  <a:pt x="2367390" y="1136682"/>
                  <a:pt x="2348829" y="1168337"/>
                </a:cubicBezTo>
                <a:cubicBezTo>
                  <a:pt x="2330817" y="1198858"/>
                  <a:pt x="2306983" y="1218037"/>
                  <a:pt x="2277659" y="1225049"/>
                </a:cubicBezTo>
                <a:cubicBezTo>
                  <a:pt x="2238230" y="1234742"/>
                  <a:pt x="2187159" y="1222574"/>
                  <a:pt x="2137735" y="1191847"/>
                </a:cubicBezTo>
                <a:cubicBezTo>
                  <a:pt x="2108410" y="1173493"/>
                  <a:pt x="2072935" y="1172668"/>
                  <a:pt x="2042952" y="1189372"/>
                </a:cubicBezTo>
                <a:cubicBezTo>
                  <a:pt x="2013078" y="1205767"/>
                  <a:pt x="1995066" y="1236288"/>
                  <a:pt x="1994736" y="1270419"/>
                </a:cubicBezTo>
                <a:lnTo>
                  <a:pt x="1994736" y="2002519"/>
                </a:lnTo>
                <a:lnTo>
                  <a:pt x="1814712" y="1993429"/>
                </a:lnTo>
                <a:lnTo>
                  <a:pt x="1705046" y="1980512"/>
                </a:lnTo>
                <a:lnTo>
                  <a:pt x="1646915" y="1971640"/>
                </a:lnTo>
                <a:lnTo>
                  <a:pt x="1520890" y="1947860"/>
                </a:lnTo>
                <a:cubicBezTo>
                  <a:pt x="859147" y="1799153"/>
                  <a:pt x="306351" y="1363916"/>
                  <a:pt x="0" y="779809"/>
                </a:cubicBezTo>
                <a:lnTo>
                  <a:pt x="656236" y="449437"/>
                </a:lnTo>
                <a:cubicBezTo>
                  <a:pt x="671502" y="441807"/>
                  <a:pt x="684352" y="448199"/>
                  <a:pt x="688965" y="451499"/>
                </a:cubicBezTo>
                <a:cubicBezTo>
                  <a:pt x="693798" y="454902"/>
                  <a:pt x="704561" y="463976"/>
                  <a:pt x="703023" y="481092"/>
                </a:cubicBezTo>
                <a:cubicBezTo>
                  <a:pt x="695994" y="556571"/>
                  <a:pt x="713128" y="622047"/>
                  <a:pt x="750690" y="665870"/>
                </a:cubicBezTo>
                <a:cubicBezTo>
                  <a:pt x="780893" y="700928"/>
                  <a:pt x="824276" y="721345"/>
                  <a:pt x="875896" y="724644"/>
                </a:cubicBezTo>
                <a:cubicBezTo>
                  <a:pt x="929054" y="728047"/>
                  <a:pt x="983200" y="708559"/>
                  <a:pt x="1024386" y="671438"/>
                </a:cubicBezTo>
                <a:cubicBezTo>
                  <a:pt x="1065683" y="634214"/>
                  <a:pt x="1090065" y="582452"/>
                  <a:pt x="1091602" y="529452"/>
                </a:cubicBezTo>
                <a:cubicBezTo>
                  <a:pt x="1094678" y="431083"/>
                  <a:pt x="1020982" y="382723"/>
                  <a:pt x="967275" y="347046"/>
                </a:cubicBezTo>
                <a:cubicBezTo>
                  <a:pt x="953216" y="337972"/>
                  <a:pt x="952557" y="323949"/>
                  <a:pt x="952887" y="318484"/>
                </a:cubicBezTo>
                <a:cubicBezTo>
                  <a:pt x="953216" y="313019"/>
                  <a:pt x="955633" y="299305"/>
                  <a:pt x="970679" y="291675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9" name="Freeform: Shape 148">
            <a:extLst>
              <a:ext uri="{FF2B5EF4-FFF2-40B4-BE49-F238E27FC236}">
                <a16:creationId xmlns="" xmlns:a16="http://schemas.microsoft.com/office/drawing/2014/main" id="{01C33F0B-A872-46FB-9A25-2A3C7945E945}"/>
              </a:ext>
            </a:extLst>
          </p:cNvPr>
          <p:cNvSpPr/>
          <p:nvPr/>
        </p:nvSpPr>
        <p:spPr>
          <a:xfrm>
            <a:off x="6131898" y="3877026"/>
            <a:ext cx="1952056" cy="1994841"/>
          </a:xfrm>
          <a:custGeom>
            <a:avLst/>
            <a:gdLst>
              <a:gd name="connsiteX0" fmla="*/ 421321 w 1952056"/>
              <a:gd name="connsiteY0" fmla="*/ 0 h 1994841"/>
              <a:gd name="connsiteX1" fmla="*/ 1004877 w 1952056"/>
              <a:gd name="connsiteY1" fmla="*/ 319120 h 1994841"/>
              <a:gd name="connsiteX2" fmla="*/ 1098051 w 1952056"/>
              <a:gd name="connsiteY2" fmla="*/ 317265 h 1994841"/>
              <a:gd name="connsiteX3" fmla="*/ 1143187 w 1952056"/>
              <a:gd name="connsiteY3" fmla="*/ 235988 h 1994841"/>
              <a:gd name="connsiteX4" fmla="*/ 1195756 w 1952056"/>
              <a:gd name="connsiteY4" fmla="*/ 82806 h 1994841"/>
              <a:gd name="connsiteX5" fmla="*/ 1304246 w 1952056"/>
              <a:gd name="connsiteY5" fmla="*/ 65706 h 1994841"/>
              <a:gd name="connsiteX6" fmla="*/ 1393794 w 1952056"/>
              <a:gd name="connsiteY6" fmla="*/ 129678 h 1994841"/>
              <a:gd name="connsiteX7" fmla="*/ 1409293 w 1952056"/>
              <a:gd name="connsiteY7" fmla="*/ 219196 h 1994841"/>
              <a:gd name="connsiteX8" fmla="*/ 1312766 w 1952056"/>
              <a:gd name="connsiteY8" fmla="*/ 325506 h 1994841"/>
              <a:gd name="connsiteX9" fmla="*/ 1265092 w 1952056"/>
              <a:gd name="connsiteY9" fmla="*/ 407093 h 1994841"/>
              <a:gd name="connsiteX10" fmla="*/ 1313129 w 1952056"/>
              <a:gd name="connsiteY10" fmla="*/ 487444 h 1994841"/>
              <a:gd name="connsiteX11" fmla="*/ 1952056 w 1952056"/>
              <a:gd name="connsiteY11" fmla="*/ 837058 h 1994841"/>
              <a:gd name="connsiteX12" fmla="*/ 1859689 w 1952056"/>
              <a:gd name="connsiteY12" fmla="*/ 989099 h 1994841"/>
              <a:gd name="connsiteX13" fmla="*/ 1730147 w 1952056"/>
              <a:gd name="connsiteY13" fmla="*/ 1162335 h 1994841"/>
              <a:gd name="connsiteX14" fmla="*/ 1722426 w 1952056"/>
              <a:gd name="connsiteY14" fmla="*/ 1171316 h 1994841"/>
              <a:gd name="connsiteX15" fmla="*/ 1580548 w 1952056"/>
              <a:gd name="connsiteY15" fmla="*/ 1327421 h 1994841"/>
              <a:gd name="connsiteX16" fmla="*/ 1053745 w 1952056"/>
              <a:gd name="connsiteY16" fmla="*/ 1721067 h 1994841"/>
              <a:gd name="connsiteX17" fmla="*/ 855581 w 1952056"/>
              <a:gd name="connsiteY17" fmla="*/ 1816528 h 1994841"/>
              <a:gd name="connsiteX18" fmla="*/ 849685 w 1952056"/>
              <a:gd name="connsiteY18" fmla="*/ 1818879 h 1994841"/>
              <a:gd name="connsiteX19" fmla="*/ 668019 w 1952056"/>
              <a:gd name="connsiteY19" fmla="*/ 1885369 h 1994841"/>
              <a:gd name="connsiteX20" fmla="*/ 628959 w 1952056"/>
              <a:gd name="connsiteY20" fmla="*/ 1898040 h 1994841"/>
              <a:gd name="connsiteX21" fmla="*/ 446707 w 1952056"/>
              <a:gd name="connsiteY21" fmla="*/ 1944902 h 1994841"/>
              <a:gd name="connsiteX22" fmla="*/ 371095 w 1952056"/>
              <a:gd name="connsiteY22" fmla="*/ 1958730 h 1994841"/>
              <a:gd name="connsiteX23" fmla="*/ 260305 w 1952056"/>
              <a:gd name="connsiteY23" fmla="*/ 1975639 h 1994841"/>
              <a:gd name="connsiteX24" fmla="*/ 160440 w 1952056"/>
              <a:gd name="connsiteY24" fmla="*/ 1987061 h 1994841"/>
              <a:gd name="connsiteX25" fmla="*/ 83592 w 1952056"/>
              <a:gd name="connsiteY25" fmla="*/ 1990942 h 1994841"/>
              <a:gd name="connsiteX26" fmla="*/ 0 w 1952056"/>
              <a:gd name="connsiteY26" fmla="*/ 1994841 h 1994841"/>
              <a:gd name="connsiteX27" fmla="*/ 0 w 1952056"/>
              <a:gd name="connsiteY27" fmla="*/ 1262209 h 1994841"/>
              <a:gd name="connsiteX28" fmla="*/ 16496 w 1952056"/>
              <a:gd name="connsiteY28" fmla="*/ 1234189 h 1994841"/>
              <a:gd name="connsiteX29" fmla="*/ 49215 w 1952056"/>
              <a:gd name="connsiteY29" fmla="*/ 1235116 h 1994841"/>
              <a:gd name="connsiteX30" fmla="*/ 236197 w 1952056"/>
              <a:gd name="connsiteY30" fmla="*/ 1275910 h 1994841"/>
              <a:gd name="connsiteX31" fmla="*/ 345231 w 1952056"/>
              <a:gd name="connsiteY31" fmla="*/ 1190923 h 1994841"/>
              <a:gd name="connsiteX32" fmla="*/ 364446 w 1952056"/>
              <a:gd name="connsiteY32" fmla="*/ 1034755 h 1994841"/>
              <a:gd name="connsiteX33" fmla="*/ 267647 w 1952056"/>
              <a:gd name="connsiteY33" fmla="*/ 911035 h 1994841"/>
              <a:gd name="connsiteX34" fmla="*/ 48309 w 1952056"/>
              <a:gd name="connsiteY34" fmla="*/ 939364 h 1994841"/>
              <a:gd name="connsiteX35" fmla="*/ 16224 w 1952056"/>
              <a:gd name="connsiteY35" fmla="*/ 939364 h 1994841"/>
              <a:gd name="connsiteX36" fmla="*/ 272 w 1952056"/>
              <a:gd name="connsiteY36" fmla="*/ 911654 h 1994841"/>
              <a:gd name="connsiteX37" fmla="*/ 272 w 1952056"/>
              <a:gd name="connsiteY37" fmla="*/ 248317 h 1994841"/>
              <a:gd name="connsiteX38" fmla="*/ 73386 w 1952056"/>
              <a:gd name="connsiteY38" fmla="*/ 240971 h 1994841"/>
              <a:gd name="connsiteX39" fmla="*/ 413961 w 1952056"/>
              <a:gd name="connsiteY39" fmla="*/ 13515 h 1994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952056" h="1994841">
                <a:moveTo>
                  <a:pt x="421321" y="0"/>
                </a:moveTo>
                <a:lnTo>
                  <a:pt x="1004877" y="319120"/>
                </a:lnTo>
                <a:cubicBezTo>
                  <a:pt x="1034424" y="335190"/>
                  <a:pt x="1069319" y="334675"/>
                  <a:pt x="1098051" y="317265"/>
                </a:cubicBezTo>
                <a:cubicBezTo>
                  <a:pt x="1127054" y="299959"/>
                  <a:pt x="1143821" y="269467"/>
                  <a:pt x="1143187" y="235988"/>
                </a:cubicBezTo>
                <a:cubicBezTo>
                  <a:pt x="1142009" y="166865"/>
                  <a:pt x="1145090" y="115050"/>
                  <a:pt x="1195756" y="82806"/>
                </a:cubicBezTo>
                <a:cubicBezTo>
                  <a:pt x="1226662" y="63028"/>
                  <a:pt x="1266361" y="56950"/>
                  <a:pt x="1304246" y="65706"/>
                </a:cubicBezTo>
                <a:cubicBezTo>
                  <a:pt x="1342132" y="74874"/>
                  <a:pt x="1374852" y="98052"/>
                  <a:pt x="1393794" y="129678"/>
                </a:cubicBezTo>
                <a:cubicBezTo>
                  <a:pt x="1411740" y="160170"/>
                  <a:pt x="1416997" y="190250"/>
                  <a:pt x="1409293" y="219196"/>
                </a:cubicBezTo>
                <a:cubicBezTo>
                  <a:pt x="1398961" y="258238"/>
                  <a:pt x="1363794" y="296869"/>
                  <a:pt x="1312766" y="325506"/>
                </a:cubicBezTo>
                <a:cubicBezTo>
                  <a:pt x="1282856" y="342195"/>
                  <a:pt x="1265092" y="372687"/>
                  <a:pt x="1265092" y="407093"/>
                </a:cubicBezTo>
                <a:cubicBezTo>
                  <a:pt x="1265454" y="441500"/>
                  <a:pt x="1283491" y="471683"/>
                  <a:pt x="1313129" y="487444"/>
                </a:cubicBezTo>
                <a:lnTo>
                  <a:pt x="1952056" y="837058"/>
                </a:lnTo>
                <a:lnTo>
                  <a:pt x="1859689" y="989099"/>
                </a:lnTo>
                <a:lnTo>
                  <a:pt x="1730147" y="1162335"/>
                </a:lnTo>
                <a:lnTo>
                  <a:pt x="1722426" y="1171316"/>
                </a:lnTo>
                <a:lnTo>
                  <a:pt x="1580548" y="1327421"/>
                </a:lnTo>
                <a:cubicBezTo>
                  <a:pt x="1425417" y="1482553"/>
                  <a:pt x="1248092" y="1615492"/>
                  <a:pt x="1053745" y="1721067"/>
                </a:cubicBezTo>
                <a:lnTo>
                  <a:pt x="855581" y="1816528"/>
                </a:lnTo>
                <a:lnTo>
                  <a:pt x="849685" y="1818879"/>
                </a:lnTo>
                <a:lnTo>
                  <a:pt x="668019" y="1885369"/>
                </a:lnTo>
                <a:lnTo>
                  <a:pt x="628959" y="1898040"/>
                </a:lnTo>
                <a:lnTo>
                  <a:pt x="446707" y="1944902"/>
                </a:lnTo>
                <a:lnTo>
                  <a:pt x="371095" y="1958730"/>
                </a:lnTo>
                <a:lnTo>
                  <a:pt x="260305" y="1975639"/>
                </a:lnTo>
                <a:lnTo>
                  <a:pt x="160440" y="1987061"/>
                </a:lnTo>
                <a:lnTo>
                  <a:pt x="83592" y="1990942"/>
                </a:lnTo>
                <a:lnTo>
                  <a:pt x="0" y="1994841"/>
                </a:lnTo>
                <a:lnTo>
                  <a:pt x="0" y="1262209"/>
                </a:lnTo>
                <a:cubicBezTo>
                  <a:pt x="0" y="1245108"/>
                  <a:pt x="11602" y="1236867"/>
                  <a:pt x="16496" y="1234189"/>
                </a:cubicBezTo>
                <a:cubicBezTo>
                  <a:pt x="21390" y="1231408"/>
                  <a:pt x="34532" y="1225948"/>
                  <a:pt x="49215" y="1235116"/>
                </a:cubicBezTo>
                <a:cubicBezTo>
                  <a:pt x="113657" y="1274982"/>
                  <a:pt x="179912" y="1289610"/>
                  <a:pt x="236197" y="1275910"/>
                </a:cubicBezTo>
                <a:cubicBezTo>
                  <a:pt x="281061" y="1264887"/>
                  <a:pt x="318947" y="1235425"/>
                  <a:pt x="345231" y="1190923"/>
                </a:cubicBezTo>
                <a:cubicBezTo>
                  <a:pt x="372422" y="1144979"/>
                  <a:pt x="379491" y="1088013"/>
                  <a:pt x="364446" y="1034755"/>
                </a:cubicBezTo>
                <a:cubicBezTo>
                  <a:pt x="349854" y="981394"/>
                  <a:pt x="314415" y="936377"/>
                  <a:pt x="267647" y="911035"/>
                </a:cubicBezTo>
                <a:cubicBezTo>
                  <a:pt x="180909" y="863855"/>
                  <a:pt x="104141" y="907739"/>
                  <a:pt x="48309" y="939364"/>
                </a:cubicBezTo>
                <a:cubicBezTo>
                  <a:pt x="33626" y="947914"/>
                  <a:pt x="21118" y="942146"/>
                  <a:pt x="16224" y="939364"/>
                </a:cubicBezTo>
                <a:cubicBezTo>
                  <a:pt x="11602" y="936686"/>
                  <a:pt x="272" y="928445"/>
                  <a:pt x="272" y="911654"/>
                </a:cubicBezTo>
                <a:lnTo>
                  <a:pt x="272" y="248317"/>
                </a:lnTo>
                <a:lnTo>
                  <a:pt x="73386" y="240971"/>
                </a:lnTo>
                <a:cubicBezTo>
                  <a:pt x="214672" y="212154"/>
                  <a:pt x="335955" y="128603"/>
                  <a:pt x="413961" y="13515"/>
                </a:cubicBezTo>
                <a:close/>
              </a:path>
            </a:pathLst>
          </a:custGeom>
          <a:solidFill>
            <a:srgbClr val="5DB7E3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" name="Group 155">
            <a:extLst>
              <a:ext uri="{FF2B5EF4-FFF2-40B4-BE49-F238E27FC236}">
                <a16:creationId xmlns="" xmlns:a16="http://schemas.microsoft.com/office/drawing/2014/main" id="{93F01C69-C478-4DDD-8711-E645563B0130}"/>
              </a:ext>
            </a:extLst>
          </p:cNvPr>
          <p:cNvGrpSpPr/>
          <p:nvPr/>
        </p:nvGrpSpPr>
        <p:grpSpPr>
          <a:xfrm>
            <a:off x="3810018" y="1303150"/>
            <a:ext cx="4571831" cy="4570028"/>
            <a:chOff x="3810018" y="1303150"/>
            <a:chExt cx="4571831" cy="4570028"/>
          </a:xfrm>
        </p:grpSpPr>
        <p:sp>
          <p:nvSpPr>
            <p:cNvPr id="157" name="Freeform: Shape 156">
              <a:extLst>
                <a:ext uri="{FF2B5EF4-FFF2-40B4-BE49-F238E27FC236}">
                  <a16:creationId xmlns="" xmlns:a16="http://schemas.microsoft.com/office/drawing/2014/main" id="{C87694D3-E90F-4BF1-8B1C-251CEB872F10}"/>
                </a:ext>
              </a:extLst>
            </p:cNvPr>
            <p:cNvSpPr/>
            <p:nvPr/>
          </p:nvSpPr>
          <p:spPr>
            <a:xfrm>
              <a:off x="4115514" y="1303150"/>
              <a:ext cx="1957729" cy="1298682"/>
            </a:xfrm>
            <a:custGeom>
              <a:avLst/>
              <a:gdLst>
                <a:gd name="connsiteX0" fmla="*/ 1957729 w 1957729"/>
                <a:gd name="connsiteY0" fmla="*/ 0 h 1298682"/>
                <a:gd name="connsiteX1" fmla="*/ 1957729 w 1957729"/>
                <a:gd name="connsiteY1" fmla="*/ 302259 h 1298682"/>
                <a:gd name="connsiteX2" fmla="*/ 1778465 w 1957729"/>
                <a:gd name="connsiteY2" fmla="*/ 311311 h 1298682"/>
                <a:gd name="connsiteX3" fmla="*/ 342064 w 1957729"/>
                <a:gd name="connsiteY3" fmla="*/ 1172252 h 1298682"/>
                <a:gd name="connsiteX4" fmla="*/ 265256 w 1957729"/>
                <a:gd name="connsiteY4" fmla="*/ 1298682 h 1298682"/>
                <a:gd name="connsiteX5" fmla="*/ 0 w 1957729"/>
                <a:gd name="connsiteY5" fmla="*/ 1153540 h 1298682"/>
                <a:gd name="connsiteX6" fmla="*/ 1071653 w 1957729"/>
                <a:gd name="connsiteY6" fmla="*/ 189304 h 1298682"/>
                <a:gd name="connsiteX7" fmla="*/ 1189482 w 1957729"/>
                <a:gd name="connsiteY7" fmla="*/ 142331 h 1298682"/>
                <a:gd name="connsiteX8" fmla="*/ 1225720 w 1957729"/>
                <a:gd name="connsiteY8" fmla="*/ 129068 h 1298682"/>
                <a:gd name="connsiteX9" fmla="*/ 1347159 w 1957729"/>
                <a:gd name="connsiteY9" fmla="*/ 89679 h 1298682"/>
                <a:gd name="connsiteX10" fmla="*/ 1428280 w 1957729"/>
                <a:gd name="connsiteY10" fmla="*/ 68821 h 1298682"/>
                <a:gd name="connsiteX11" fmla="*/ 1498550 w 1957729"/>
                <a:gd name="connsiteY11" fmla="*/ 51066 h 1298682"/>
                <a:gd name="connsiteX12" fmla="*/ 1582279 w 1957729"/>
                <a:gd name="connsiteY12" fmla="*/ 35755 h 1298682"/>
                <a:gd name="connsiteX13" fmla="*/ 1700830 w 1957729"/>
                <a:gd name="connsiteY13" fmla="*/ 17662 h 1298682"/>
                <a:gd name="connsiteX14" fmla="*/ 1774253 w 1957729"/>
                <a:gd name="connsiteY14" fmla="*/ 9265 h 1298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7729" h="1298682">
                  <a:moveTo>
                    <a:pt x="1957729" y="0"/>
                  </a:moveTo>
                  <a:lnTo>
                    <a:pt x="1957729" y="302259"/>
                  </a:lnTo>
                  <a:lnTo>
                    <a:pt x="1778465" y="311311"/>
                  </a:lnTo>
                  <a:cubicBezTo>
                    <a:pt x="1180658" y="372022"/>
                    <a:pt x="661634" y="699226"/>
                    <a:pt x="342064" y="1172252"/>
                  </a:cubicBezTo>
                  <a:lnTo>
                    <a:pt x="265256" y="1298682"/>
                  </a:lnTo>
                  <a:lnTo>
                    <a:pt x="0" y="1153540"/>
                  </a:lnTo>
                  <a:cubicBezTo>
                    <a:pt x="242507" y="727590"/>
                    <a:pt x="618666" y="387294"/>
                    <a:pt x="1071653" y="189304"/>
                  </a:cubicBezTo>
                  <a:lnTo>
                    <a:pt x="1189482" y="142331"/>
                  </a:lnTo>
                  <a:lnTo>
                    <a:pt x="1225720" y="129068"/>
                  </a:lnTo>
                  <a:lnTo>
                    <a:pt x="1347159" y="89679"/>
                  </a:lnTo>
                  <a:lnTo>
                    <a:pt x="1428280" y="68821"/>
                  </a:lnTo>
                  <a:lnTo>
                    <a:pt x="1498550" y="51066"/>
                  </a:lnTo>
                  <a:lnTo>
                    <a:pt x="1582279" y="35755"/>
                  </a:lnTo>
                  <a:lnTo>
                    <a:pt x="1700830" y="17662"/>
                  </a:lnTo>
                  <a:lnTo>
                    <a:pt x="1774253" y="9265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="" xmlns:a16="http://schemas.microsoft.com/office/drawing/2014/main" id="{C23C9921-9C81-48DF-AFA9-F53EDAD62E40}"/>
                </a:ext>
              </a:extLst>
            </p:cNvPr>
            <p:cNvSpPr/>
            <p:nvPr/>
          </p:nvSpPr>
          <p:spPr>
            <a:xfrm>
              <a:off x="6137497" y="1304096"/>
              <a:ext cx="1984284" cy="1364652"/>
            </a:xfrm>
            <a:custGeom>
              <a:avLst/>
              <a:gdLst>
                <a:gd name="connsiteX0" fmla="*/ 0 w 1984284"/>
                <a:gd name="connsiteY0" fmla="*/ 0 h 1364652"/>
                <a:gd name="connsiteX1" fmla="*/ 192233 w 1984284"/>
                <a:gd name="connsiteY1" fmla="*/ 9707 h 1364652"/>
                <a:gd name="connsiteX2" fmla="*/ 1968595 w 1984284"/>
                <a:gd name="connsiteY2" fmla="*/ 1194262 h 1364652"/>
                <a:gd name="connsiteX3" fmla="*/ 1984284 w 1984284"/>
                <a:gd name="connsiteY3" fmla="*/ 1226829 h 1364652"/>
                <a:gd name="connsiteX4" fmla="*/ 1710558 w 1984284"/>
                <a:gd name="connsiteY4" fmla="*/ 1364652 h 1364652"/>
                <a:gd name="connsiteX5" fmla="*/ 1695896 w 1984284"/>
                <a:gd name="connsiteY5" fmla="*/ 1334217 h 1364652"/>
                <a:gd name="connsiteX6" fmla="*/ 160525 w 1984284"/>
                <a:gd name="connsiteY6" fmla="*/ 310365 h 1364652"/>
                <a:gd name="connsiteX7" fmla="*/ 0 w 1984284"/>
                <a:gd name="connsiteY7" fmla="*/ 302260 h 136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284" h="1364652">
                  <a:moveTo>
                    <a:pt x="0" y="0"/>
                  </a:moveTo>
                  <a:lnTo>
                    <a:pt x="192233" y="9707"/>
                  </a:lnTo>
                  <a:cubicBezTo>
                    <a:pt x="960720" y="87751"/>
                    <a:pt x="1616678" y="546440"/>
                    <a:pt x="1968595" y="1194262"/>
                  </a:cubicBezTo>
                  <a:lnTo>
                    <a:pt x="1984284" y="1226829"/>
                  </a:lnTo>
                  <a:lnTo>
                    <a:pt x="1710558" y="1364652"/>
                  </a:lnTo>
                  <a:lnTo>
                    <a:pt x="1695896" y="1334217"/>
                  </a:lnTo>
                  <a:cubicBezTo>
                    <a:pt x="1391722" y="774282"/>
                    <a:pt x="824754" y="377822"/>
                    <a:pt x="160525" y="310365"/>
                  </a:cubicBezTo>
                  <a:lnTo>
                    <a:pt x="0" y="302260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="" xmlns:a16="http://schemas.microsoft.com/office/drawing/2014/main" id="{02CEDC50-3CE6-4618-8255-3759AFA519DB}"/>
                </a:ext>
              </a:extLst>
            </p:cNvPr>
            <p:cNvSpPr/>
            <p:nvPr/>
          </p:nvSpPr>
          <p:spPr>
            <a:xfrm>
              <a:off x="3810018" y="2520064"/>
              <a:ext cx="535046" cy="2067637"/>
            </a:xfrm>
            <a:custGeom>
              <a:avLst/>
              <a:gdLst>
                <a:gd name="connsiteX0" fmla="*/ 267357 w 535046"/>
                <a:gd name="connsiteY0" fmla="*/ 0 h 2067637"/>
                <a:gd name="connsiteX1" fmla="*/ 535046 w 535046"/>
                <a:gd name="connsiteY1" fmla="*/ 146362 h 2067637"/>
                <a:gd name="connsiteX2" fmla="*/ 465386 w 535046"/>
                <a:gd name="connsiteY2" fmla="*/ 290968 h 2067637"/>
                <a:gd name="connsiteX3" fmla="*/ 310112 w 535046"/>
                <a:gd name="connsiteY3" fmla="*/ 1060066 h 2067637"/>
                <a:gd name="connsiteX4" fmla="*/ 465386 w 535046"/>
                <a:gd name="connsiteY4" fmla="*/ 1829164 h 2067637"/>
                <a:gd name="connsiteX5" fmla="*/ 512393 w 535046"/>
                <a:gd name="connsiteY5" fmla="*/ 1926745 h 2067637"/>
                <a:gd name="connsiteX6" fmla="*/ 232563 w 535046"/>
                <a:gd name="connsiteY6" fmla="*/ 2067637 h 2067637"/>
                <a:gd name="connsiteX7" fmla="*/ 225990 w 535046"/>
                <a:gd name="connsiteY7" fmla="*/ 2053993 h 2067637"/>
                <a:gd name="connsiteX8" fmla="*/ 143713 w 535046"/>
                <a:gd name="connsiteY8" fmla="*/ 1859623 h 2067637"/>
                <a:gd name="connsiteX9" fmla="*/ 127229 w 535046"/>
                <a:gd name="connsiteY9" fmla="*/ 1814587 h 2067637"/>
                <a:gd name="connsiteX10" fmla="*/ 72805 w 535046"/>
                <a:gd name="connsiteY10" fmla="*/ 1631236 h 2067637"/>
                <a:gd name="connsiteX11" fmla="*/ 56915 w 535046"/>
                <a:gd name="connsiteY11" fmla="*/ 1569439 h 2067637"/>
                <a:gd name="connsiteX12" fmla="*/ 24950 w 535046"/>
                <a:gd name="connsiteY12" fmla="*/ 1387930 h 2067637"/>
                <a:gd name="connsiteX13" fmla="*/ 13706 w 535046"/>
                <a:gd name="connsiteY13" fmla="*/ 1314258 h 2067637"/>
                <a:gd name="connsiteX14" fmla="*/ 10680 w 535046"/>
                <a:gd name="connsiteY14" fmla="*/ 1279791 h 2067637"/>
                <a:gd name="connsiteX15" fmla="*/ 0 w 535046"/>
                <a:gd name="connsiteY15" fmla="*/ 1068279 h 2067637"/>
                <a:gd name="connsiteX16" fmla="*/ 56 w 535046"/>
                <a:gd name="connsiteY16" fmla="*/ 1066483 h 2067637"/>
                <a:gd name="connsiteX17" fmla="*/ 10355 w 535046"/>
                <a:gd name="connsiteY17" fmla="*/ 862515 h 2067637"/>
                <a:gd name="connsiteX18" fmla="*/ 14998 w 535046"/>
                <a:gd name="connsiteY18" fmla="*/ 813156 h 2067637"/>
                <a:gd name="connsiteX19" fmla="*/ 43046 w 535046"/>
                <a:gd name="connsiteY19" fmla="*/ 629373 h 2067637"/>
                <a:gd name="connsiteX20" fmla="*/ 57476 w 535046"/>
                <a:gd name="connsiteY20" fmla="*/ 564253 h 2067637"/>
                <a:gd name="connsiteX21" fmla="*/ 88466 w 535046"/>
                <a:gd name="connsiteY21" fmla="*/ 443729 h 2067637"/>
                <a:gd name="connsiteX22" fmla="*/ 107798 w 535046"/>
                <a:gd name="connsiteY22" fmla="*/ 376405 h 2067637"/>
                <a:gd name="connsiteX23" fmla="*/ 130737 w 535046"/>
                <a:gd name="connsiteY23" fmla="*/ 311702 h 2067637"/>
                <a:gd name="connsiteX24" fmla="*/ 157234 w 535046"/>
                <a:gd name="connsiteY24" fmla="*/ 239308 h 2067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5046" h="2067637">
                  <a:moveTo>
                    <a:pt x="267357" y="0"/>
                  </a:moveTo>
                  <a:lnTo>
                    <a:pt x="535046" y="146362"/>
                  </a:lnTo>
                  <a:lnTo>
                    <a:pt x="465386" y="290968"/>
                  </a:lnTo>
                  <a:cubicBezTo>
                    <a:pt x="365401" y="527358"/>
                    <a:pt x="310112" y="787255"/>
                    <a:pt x="310112" y="1060066"/>
                  </a:cubicBezTo>
                  <a:cubicBezTo>
                    <a:pt x="310112" y="1332877"/>
                    <a:pt x="365401" y="1592774"/>
                    <a:pt x="465386" y="1829164"/>
                  </a:cubicBezTo>
                  <a:lnTo>
                    <a:pt x="512393" y="1926745"/>
                  </a:lnTo>
                  <a:lnTo>
                    <a:pt x="232563" y="2067637"/>
                  </a:lnTo>
                  <a:lnTo>
                    <a:pt x="225990" y="2053993"/>
                  </a:lnTo>
                  <a:lnTo>
                    <a:pt x="143713" y="1859623"/>
                  </a:lnTo>
                  <a:lnTo>
                    <a:pt x="127229" y="1814587"/>
                  </a:lnTo>
                  <a:lnTo>
                    <a:pt x="72805" y="1631236"/>
                  </a:lnTo>
                  <a:lnTo>
                    <a:pt x="56915" y="1569439"/>
                  </a:lnTo>
                  <a:lnTo>
                    <a:pt x="24950" y="1387930"/>
                  </a:lnTo>
                  <a:lnTo>
                    <a:pt x="13706" y="1314258"/>
                  </a:lnTo>
                  <a:lnTo>
                    <a:pt x="10680" y="1279791"/>
                  </a:lnTo>
                  <a:lnTo>
                    <a:pt x="0" y="1068279"/>
                  </a:lnTo>
                  <a:lnTo>
                    <a:pt x="56" y="1066483"/>
                  </a:lnTo>
                  <a:lnTo>
                    <a:pt x="10355" y="862515"/>
                  </a:lnTo>
                  <a:lnTo>
                    <a:pt x="14998" y="813156"/>
                  </a:lnTo>
                  <a:lnTo>
                    <a:pt x="43046" y="629373"/>
                  </a:lnTo>
                  <a:lnTo>
                    <a:pt x="57476" y="564253"/>
                  </a:lnTo>
                  <a:lnTo>
                    <a:pt x="88466" y="443729"/>
                  </a:lnTo>
                  <a:lnTo>
                    <a:pt x="107798" y="376405"/>
                  </a:lnTo>
                  <a:lnTo>
                    <a:pt x="130737" y="311702"/>
                  </a:lnTo>
                  <a:lnTo>
                    <a:pt x="157234" y="239308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="" xmlns:a16="http://schemas.microsoft.com/office/drawing/2014/main" id="{95BCC2D9-ACF8-4414-A623-D73E08297C37}"/>
                </a:ext>
              </a:extLst>
            </p:cNvPr>
            <p:cNvSpPr/>
            <p:nvPr/>
          </p:nvSpPr>
          <p:spPr>
            <a:xfrm>
              <a:off x="7843605" y="2582664"/>
              <a:ext cx="538244" cy="2066270"/>
            </a:xfrm>
            <a:custGeom>
              <a:avLst/>
              <a:gdLst>
                <a:gd name="connsiteX0" fmla="*/ 303101 w 538244"/>
                <a:gd name="connsiteY0" fmla="*/ 0 h 2066270"/>
                <a:gd name="connsiteX1" fmla="*/ 337171 w 538244"/>
                <a:gd name="connsiteY1" fmla="*/ 70724 h 2066270"/>
                <a:gd name="connsiteX2" fmla="*/ 375152 w 538244"/>
                <a:gd name="connsiteY2" fmla="*/ 160332 h 2066270"/>
                <a:gd name="connsiteX3" fmla="*/ 422819 w 538244"/>
                <a:gd name="connsiteY3" fmla="*/ 290569 h 2066270"/>
                <a:gd name="connsiteX4" fmla="*/ 451328 w 538244"/>
                <a:gd name="connsiteY4" fmla="*/ 386631 h 2066270"/>
                <a:gd name="connsiteX5" fmla="*/ 485707 w 538244"/>
                <a:gd name="connsiteY5" fmla="*/ 520333 h 2066270"/>
                <a:gd name="connsiteX6" fmla="*/ 504946 w 538244"/>
                <a:gd name="connsiteY6" fmla="*/ 629759 h 2066270"/>
                <a:gd name="connsiteX7" fmla="*/ 526202 w 538244"/>
                <a:gd name="connsiteY7" fmla="*/ 769036 h 2066270"/>
                <a:gd name="connsiteX8" fmla="*/ 526822 w 538244"/>
                <a:gd name="connsiteY8" fmla="*/ 776115 h 2066270"/>
                <a:gd name="connsiteX9" fmla="*/ 538244 w 538244"/>
                <a:gd name="connsiteY9" fmla="*/ 1002317 h 2066270"/>
                <a:gd name="connsiteX10" fmla="*/ 537749 w 538244"/>
                <a:gd name="connsiteY10" fmla="*/ 1018152 h 2066270"/>
                <a:gd name="connsiteX11" fmla="*/ 528787 w 538244"/>
                <a:gd name="connsiteY11" fmla="*/ 1195636 h 2066270"/>
                <a:gd name="connsiteX12" fmla="*/ 521665 w 538244"/>
                <a:gd name="connsiteY12" fmla="*/ 1271362 h 2066270"/>
                <a:gd name="connsiteX13" fmla="*/ 498767 w 538244"/>
                <a:gd name="connsiteY13" fmla="*/ 1421401 h 2066270"/>
                <a:gd name="connsiteX14" fmla="*/ 469676 w 538244"/>
                <a:gd name="connsiteY14" fmla="*/ 1552682 h 2066270"/>
                <a:gd name="connsiteX15" fmla="*/ 467139 w 538244"/>
                <a:gd name="connsiteY15" fmla="*/ 1562550 h 2066270"/>
                <a:gd name="connsiteX16" fmla="*/ 430581 w 538244"/>
                <a:gd name="connsiteY16" fmla="*/ 1689865 h 2066270"/>
                <a:gd name="connsiteX17" fmla="*/ 271022 w 538244"/>
                <a:gd name="connsiteY17" fmla="*/ 2066270 h 2066270"/>
                <a:gd name="connsiteX18" fmla="*/ 0 w 538244"/>
                <a:gd name="connsiteY18" fmla="*/ 1918086 h 2066270"/>
                <a:gd name="connsiteX19" fmla="*/ 72992 w 538244"/>
                <a:gd name="connsiteY19" fmla="*/ 1766564 h 2066270"/>
                <a:gd name="connsiteX20" fmla="*/ 228265 w 538244"/>
                <a:gd name="connsiteY20" fmla="*/ 997466 h 2066270"/>
                <a:gd name="connsiteX21" fmla="*/ 72992 w 538244"/>
                <a:gd name="connsiteY21" fmla="*/ 228368 h 2066270"/>
                <a:gd name="connsiteX22" fmla="*/ 29373 w 538244"/>
                <a:gd name="connsiteY22" fmla="*/ 137821 h 20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38244" h="2066270">
                  <a:moveTo>
                    <a:pt x="303101" y="0"/>
                  </a:moveTo>
                  <a:lnTo>
                    <a:pt x="337171" y="70724"/>
                  </a:lnTo>
                  <a:lnTo>
                    <a:pt x="375152" y="160332"/>
                  </a:lnTo>
                  <a:lnTo>
                    <a:pt x="422819" y="290569"/>
                  </a:lnTo>
                  <a:lnTo>
                    <a:pt x="451328" y="386631"/>
                  </a:lnTo>
                  <a:lnTo>
                    <a:pt x="485707" y="520333"/>
                  </a:lnTo>
                  <a:lnTo>
                    <a:pt x="504946" y="629759"/>
                  </a:lnTo>
                  <a:lnTo>
                    <a:pt x="526202" y="769036"/>
                  </a:lnTo>
                  <a:lnTo>
                    <a:pt x="526822" y="776115"/>
                  </a:lnTo>
                  <a:lnTo>
                    <a:pt x="538244" y="1002317"/>
                  </a:lnTo>
                  <a:lnTo>
                    <a:pt x="537749" y="1018152"/>
                  </a:lnTo>
                  <a:lnTo>
                    <a:pt x="528787" y="1195636"/>
                  </a:lnTo>
                  <a:lnTo>
                    <a:pt x="521665" y="1271362"/>
                  </a:lnTo>
                  <a:lnTo>
                    <a:pt x="498767" y="1421401"/>
                  </a:lnTo>
                  <a:lnTo>
                    <a:pt x="469676" y="1552682"/>
                  </a:lnTo>
                  <a:lnTo>
                    <a:pt x="467139" y="1562550"/>
                  </a:lnTo>
                  <a:lnTo>
                    <a:pt x="430581" y="1689865"/>
                  </a:lnTo>
                  <a:cubicBezTo>
                    <a:pt x="388580" y="1820861"/>
                    <a:pt x="334989" y="1946716"/>
                    <a:pt x="271022" y="2066270"/>
                  </a:cubicBezTo>
                  <a:lnTo>
                    <a:pt x="0" y="1918086"/>
                  </a:lnTo>
                  <a:lnTo>
                    <a:pt x="72992" y="1766564"/>
                  </a:lnTo>
                  <a:cubicBezTo>
                    <a:pt x="172976" y="1530174"/>
                    <a:pt x="228265" y="1270277"/>
                    <a:pt x="228265" y="997466"/>
                  </a:cubicBezTo>
                  <a:cubicBezTo>
                    <a:pt x="228265" y="724655"/>
                    <a:pt x="172976" y="464758"/>
                    <a:pt x="72992" y="228368"/>
                  </a:cubicBezTo>
                  <a:lnTo>
                    <a:pt x="29373" y="137821"/>
                  </a:ln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="" xmlns:a16="http://schemas.microsoft.com/office/drawing/2014/main" id="{D8BFDEE2-7039-4BA7-9252-528EC93521F9}"/>
                </a:ext>
              </a:extLst>
            </p:cNvPr>
            <p:cNvSpPr/>
            <p:nvPr/>
          </p:nvSpPr>
          <p:spPr>
            <a:xfrm>
              <a:off x="4084963" y="4514510"/>
              <a:ext cx="1994736" cy="1358668"/>
            </a:xfrm>
            <a:custGeom>
              <a:avLst/>
              <a:gdLst>
                <a:gd name="connsiteX0" fmla="*/ 270061 w 1994736"/>
                <a:gd name="connsiteY0" fmla="*/ 0 h 1358668"/>
                <a:gd name="connsiteX1" fmla="*/ 273644 w 1994736"/>
                <a:gd name="connsiteY1" fmla="*/ 7437 h 1358668"/>
                <a:gd name="connsiteX2" fmla="*/ 1809016 w 1994736"/>
                <a:gd name="connsiteY2" fmla="*/ 1031289 h 1358668"/>
                <a:gd name="connsiteX3" fmla="*/ 1994736 w 1994736"/>
                <a:gd name="connsiteY3" fmla="*/ 1040667 h 1358668"/>
                <a:gd name="connsiteX4" fmla="*/ 1994736 w 1994736"/>
                <a:gd name="connsiteY4" fmla="*/ 1358668 h 1358668"/>
                <a:gd name="connsiteX5" fmla="*/ 1814712 w 1994736"/>
                <a:gd name="connsiteY5" fmla="*/ 1349578 h 1358668"/>
                <a:gd name="connsiteX6" fmla="*/ 1705046 w 1994736"/>
                <a:gd name="connsiteY6" fmla="*/ 1336661 h 1358668"/>
                <a:gd name="connsiteX7" fmla="*/ 1646915 w 1994736"/>
                <a:gd name="connsiteY7" fmla="*/ 1327789 h 1358668"/>
                <a:gd name="connsiteX8" fmla="*/ 1520890 w 1994736"/>
                <a:gd name="connsiteY8" fmla="*/ 1304009 h 1358668"/>
                <a:gd name="connsiteX9" fmla="*/ 0 w 1994736"/>
                <a:gd name="connsiteY9" fmla="*/ 135958 h 135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4736" h="1358668">
                  <a:moveTo>
                    <a:pt x="270061" y="0"/>
                  </a:moveTo>
                  <a:lnTo>
                    <a:pt x="273644" y="7437"/>
                  </a:lnTo>
                  <a:cubicBezTo>
                    <a:pt x="577819" y="567372"/>
                    <a:pt x="1144786" y="963833"/>
                    <a:pt x="1809016" y="1031289"/>
                  </a:cubicBezTo>
                  <a:lnTo>
                    <a:pt x="1994736" y="1040667"/>
                  </a:lnTo>
                  <a:lnTo>
                    <a:pt x="1994736" y="1358668"/>
                  </a:lnTo>
                  <a:lnTo>
                    <a:pt x="1814712" y="1349578"/>
                  </a:lnTo>
                  <a:lnTo>
                    <a:pt x="1705046" y="1336661"/>
                  </a:lnTo>
                  <a:lnTo>
                    <a:pt x="1646915" y="1327789"/>
                  </a:lnTo>
                  <a:lnTo>
                    <a:pt x="1520890" y="1304009"/>
                  </a:lnTo>
                  <a:cubicBezTo>
                    <a:pt x="859147" y="1155302"/>
                    <a:pt x="306351" y="720065"/>
                    <a:pt x="0" y="13595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="" xmlns:a16="http://schemas.microsoft.com/office/drawing/2014/main" id="{FC873F33-BFDE-45C9-97B4-97DD45A1F765}"/>
                </a:ext>
              </a:extLst>
            </p:cNvPr>
            <p:cNvSpPr/>
            <p:nvPr/>
          </p:nvSpPr>
          <p:spPr>
            <a:xfrm>
              <a:off x="6131898" y="4563250"/>
              <a:ext cx="1952056" cy="1308617"/>
            </a:xfrm>
            <a:custGeom>
              <a:avLst/>
              <a:gdLst>
                <a:gd name="connsiteX0" fmla="*/ 1676403 w 1952056"/>
                <a:gd name="connsiteY0" fmla="*/ 0 h 1308617"/>
                <a:gd name="connsiteX1" fmla="*/ 1952056 w 1952056"/>
                <a:gd name="connsiteY1" fmla="*/ 150834 h 1308617"/>
                <a:gd name="connsiteX2" fmla="*/ 1859689 w 1952056"/>
                <a:gd name="connsiteY2" fmla="*/ 302875 h 1308617"/>
                <a:gd name="connsiteX3" fmla="*/ 1730147 w 1952056"/>
                <a:gd name="connsiteY3" fmla="*/ 476111 h 1308617"/>
                <a:gd name="connsiteX4" fmla="*/ 1722426 w 1952056"/>
                <a:gd name="connsiteY4" fmla="*/ 485092 h 1308617"/>
                <a:gd name="connsiteX5" fmla="*/ 1580548 w 1952056"/>
                <a:gd name="connsiteY5" fmla="*/ 641197 h 1308617"/>
                <a:gd name="connsiteX6" fmla="*/ 1053745 w 1952056"/>
                <a:gd name="connsiteY6" fmla="*/ 1034843 h 1308617"/>
                <a:gd name="connsiteX7" fmla="*/ 855581 w 1952056"/>
                <a:gd name="connsiteY7" fmla="*/ 1130304 h 1308617"/>
                <a:gd name="connsiteX8" fmla="*/ 849685 w 1952056"/>
                <a:gd name="connsiteY8" fmla="*/ 1132655 h 1308617"/>
                <a:gd name="connsiteX9" fmla="*/ 668019 w 1952056"/>
                <a:gd name="connsiteY9" fmla="*/ 1199145 h 1308617"/>
                <a:gd name="connsiteX10" fmla="*/ 628959 w 1952056"/>
                <a:gd name="connsiteY10" fmla="*/ 1211816 h 1308617"/>
                <a:gd name="connsiteX11" fmla="*/ 446707 w 1952056"/>
                <a:gd name="connsiteY11" fmla="*/ 1258678 h 1308617"/>
                <a:gd name="connsiteX12" fmla="*/ 371095 w 1952056"/>
                <a:gd name="connsiteY12" fmla="*/ 1272506 h 1308617"/>
                <a:gd name="connsiteX13" fmla="*/ 260305 w 1952056"/>
                <a:gd name="connsiteY13" fmla="*/ 1289415 h 1308617"/>
                <a:gd name="connsiteX14" fmla="*/ 160440 w 1952056"/>
                <a:gd name="connsiteY14" fmla="*/ 1300837 h 1308617"/>
                <a:gd name="connsiteX15" fmla="*/ 83592 w 1952056"/>
                <a:gd name="connsiteY15" fmla="*/ 1304718 h 1308617"/>
                <a:gd name="connsiteX16" fmla="*/ 0 w 1952056"/>
                <a:gd name="connsiteY16" fmla="*/ 1308617 h 1308617"/>
                <a:gd name="connsiteX17" fmla="*/ 0 w 1952056"/>
                <a:gd name="connsiteY17" fmla="*/ 990938 h 1308617"/>
                <a:gd name="connsiteX18" fmla="*/ 166124 w 1952056"/>
                <a:gd name="connsiteY18" fmla="*/ 982549 h 1308617"/>
                <a:gd name="connsiteX19" fmla="*/ 1602525 w 1952056"/>
                <a:gd name="connsiteY19" fmla="*/ 121608 h 130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52056" h="1308617">
                  <a:moveTo>
                    <a:pt x="1676403" y="0"/>
                  </a:moveTo>
                  <a:lnTo>
                    <a:pt x="1952056" y="150834"/>
                  </a:lnTo>
                  <a:lnTo>
                    <a:pt x="1859689" y="302875"/>
                  </a:lnTo>
                  <a:lnTo>
                    <a:pt x="1730147" y="476111"/>
                  </a:lnTo>
                  <a:lnTo>
                    <a:pt x="1722426" y="485092"/>
                  </a:lnTo>
                  <a:lnTo>
                    <a:pt x="1580548" y="641197"/>
                  </a:lnTo>
                  <a:cubicBezTo>
                    <a:pt x="1425417" y="796329"/>
                    <a:pt x="1248092" y="929268"/>
                    <a:pt x="1053745" y="1034843"/>
                  </a:cubicBezTo>
                  <a:lnTo>
                    <a:pt x="855581" y="1130304"/>
                  </a:lnTo>
                  <a:lnTo>
                    <a:pt x="849685" y="1132655"/>
                  </a:lnTo>
                  <a:lnTo>
                    <a:pt x="668019" y="1199145"/>
                  </a:lnTo>
                  <a:lnTo>
                    <a:pt x="628959" y="1211816"/>
                  </a:lnTo>
                  <a:lnTo>
                    <a:pt x="446707" y="1258678"/>
                  </a:lnTo>
                  <a:lnTo>
                    <a:pt x="371095" y="1272506"/>
                  </a:lnTo>
                  <a:lnTo>
                    <a:pt x="260305" y="1289415"/>
                  </a:lnTo>
                  <a:lnTo>
                    <a:pt x="160440" y="1300837"/>
                  </a:lnTo>
                  <a:lnTo>
                    <a:pt x="83592" y="1304718"/>
                  </a:lnTo>
                  <a:lnTo>
                    <a:pt x="0" y="1308617"/>
                  </a:lnTo>
                  <a:lnTo>
                    <a:pt x="0" y="990938"/>
                  </a:lnTo>
                  <a:lnTo>
                    <a:pt x="166124" y="982549"/>
                  </a:lnTo>
                  <a:cubicBezTo>
                    <a:pt x="763930" y="921839"/>
                    <a:pt x="1282954" y="594634"/>
                    <a:pt x="1602525" y="121608"/>
                  </a:cubicBezTo>
                  <a:close/>
                </a:path>
              </a:pathLst>
            </a:custGeom>
            <a:solidFill>
              <a:schemeClr val="tx1">
                <a:alpha val="1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sz="3000">
                <a:solidFill>
                  <a:srgbClr val="FFFFFF"/>
                </a:solidFill>
              </a:endParaRPr>
            </a:p>
          </p:txBody>
        </p:sp>
      </p:grpSp>
      <p:sp>
        <p:nvSpPr>
          <p:cNvPr id="164" name="TextBox 163">
            <a:extLst>
              <a:ext uri="{FF2B5EF4-FFF2-40B4-BE49-F238E27FC236}">
                <a16:creationId xmlns="" xmlns:a16="http://schemas.microsoft.com/office/drawing/2014/main" id="{1EB80DD4-572E-4DCE-808F-BA309E442D2A}"/>
              </a:ext>
            </a:extLst>
          </p:cNvPr>
          <p:cNvSpPr txBox="1"/>
          <p:nvPr/>
        </p:nvSpPr>
        <p:spPr>
          <a:xfrm>
            <a:off x="8592147" y="3111899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IN" sz="2400" b="1" cap="all" dirty="0" smtClean="0">
                <a:solidFill>
                  <a:schemeClr val="accent2"/>
                </a:solidFill>
              </a:rPr>
              <a:t>Add items to the cart</a:t>
            </a:r>
            <a:endParaRPr lang="en-US" sz="2400" b="1" cap="all" dirty="0">
              <a:solidFill>
                <a:schemeClr val="accent2"/>
              </a:solidFill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="" xmlns:a16="http://schemas.microsoft.com/office/drawing/2014/main" id="{94DB1AF7-D0BB-4A6F-A761-32C7571CF4FA}"/>
              </a:ext>
            </a:extLst>
          </p:cNvPr>
          <p:cNvSpPr txBox="1"/>
          <p:nvPr/>
        </p:nvSpPr>
        <p:spPr>
          <a:xfrm>
            <a:off x="1087212" y="3305498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IN" sz="2400" b="1" cap="all" dirty="0" smtClean="0">
                <a:solidFill>
                  <a:schemeClr val="accent5"/>
                </a:solidFill>
              </a:rPr>
              <a:t>UPDATE STOCK</a:t>
            </a:r>
            <a:endParaRPr lang="en-US" sz="2400" b="1" cap="all" dirty="0" smtClean="0">
              <a:solidFill>
                <a:schemeClr val="accent5"/>
              </a:solidFill>
            </a:endParaRPr>
          </a:p>
          <a:p>
            <a:pPr algn="ctr"/>
            <a:endParaRPr lang="en-US" sz="2400" b="1" cap="all" dirty="0">
              <a:solidFill>
                <a:schemeClr val="accent5"/>
              </a:solidFill>
            </a:endParaRPr>
          </a:p>
        </p:txBody>
      </p:sp>
      <p:pic>
        <p:nvPicPr>
          <p:cNvPr id="6" name="Graphic 5" descr="Users">
            <a:extLst>
              <a:ext uri="{FF2B5EF4-FFF2-40B4-BE49-F238E27FC236}">
                <a16:creationId xmlns="" xmlns:a16="http://schemas.microsoft.com/office/drawing/2014/main" id="{202E8312-6931-4B84-9DEE-8D770B037D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7169412" y="3121989"/>
            <a:ext cx="652423" cy="652423"/>
          </a:xfrm>
          <a:prstGeom prst="rect">
            <a:avLst/>
          </a:prstGeom>
        </p:spPr>
      </p:pic>
      <p:pic>
        <p:nvPicPr>
          <p:cNvPr id="8" name="Graphic 7" descr="Chat">
            <a:extLst>
              <a:ext uri="{FF2B5EF4-FFF2-40B4-BE49-F238E27FC236}">
                <a16:creationId xmlns="" xmlns:a16="http://schemas.microsoft.com/office/drawing/2014/main" id="{06BDFB1E-63CB-4346-AB1B-5C75547034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4352859" y="3446272"/>
            <a:ext cx="652423" cy="652423"/>
          </a:xfrm>
          <a:prstGeom prst="rect">
            <a:avLst/>
          </a:prstGeom>
        </p:spPr>
      </p:pic>
      <p:pic>
        <p:nvPicPr>
          <p:cNvPr id="10" name="Graphic 9" descr="Handshake">
            <a:extLst>
              <a:ext uri="{FF2B5EF4-FFF2-40B4-BE49-F238E27FC236}">
                <a16:creationId xmlns="" xmlns:a16="http://schemas.microsoft.com/office/drawing/2014/main" id="{8915D240-9422-4FBE-AA76-D78A0BCA6C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4891004" y="2119451"/>
            <a:ext cx="652423" cy="652423"/>
          </a:xfrm>
          <a:prstGeom prst="rect">
            <a:avLst/>
          </a:prstGeom>
        </p:spPr>
      </p:pic>
      <p:pic>
        <p:nvPicPr>
          <p:cNvPr id="12" name="Graphic 11" descr="Hourglass">
            <a:extLst>
              <a:ext uri="{FF2B5EF4-FFF2-40B4-BE49-F238E27FC236}">
                <a16:creationId xmlns="" xmlns:a16="http://schemas.microsoft.com/office/drawing/2014/main" id="{59DC2F6F-C1FB-4515-AE28-ED0AE28011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5249968" y="4509087"/>
            <a:ext cx="652423" cy="652423"/>
          </a:xfrm>
          <a:prstGeom prst="rect">
            <a:avLst/>
          </a:prstGeom>
        </p:spPr>
      </p:pic>
      <p:pic>
        <p:nvPicPr>
          <p:cNvPr id="14" name="Graphic 13" descr="Upward trend">
            <a:extLst>
              <a:ext uri="{FF2B5EF4-FFF2-40B4-BE49-F238E27FC236}">
                <a16:creationId xmlns="" xmlns:a16="http://schemas.microsoft.com/office/drawing/2014/main" id="{CE92DF51-B592-4A85-B5D3-39F7D29E37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6349439" y="1930241"/>
            <a:ext cx="652423" cy="652423"/>
          </a:xfrm>
          <a:prstGeom prst="rect">
            <a:avLst/>
          </a:prstGeom>
        </p:spPr>
      </p:pic>
      <p:pic>
        <p:nvPicPr>
          <p:cNvPr id="16" name="Graphic 15" descr="Database">
            <a:extLst>
              <a:ext uri="{FF2B5EF4-FFF2-40B4-BE49-F238E27FC236}">
                <a16:creationId xmlns="" xmlns:a16="http://schemas.microsoft.com/office/drawing/2014/main" id="{A67D80F1-459C-41E6-A74C-2154ECC276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6573823" y="4364642"/>
            <a:ext cx="652423" cy="652423"/>
          </a:xfrm>
          <a:prstGeom prst="rect">
            <a:avLst/>
          </a:prstGeom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6165623"/>
            <a:ext cx="20955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84998" y="5890986"/>
            <a:ext cx="3407002" cy="96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19399" y="63246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2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09456" y="63246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3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77455" y="6108700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65913" y="6050643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45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01385"/>
            <a:ext cx="23145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solidFill>
            <a:srgbClr val="652D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0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2806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dirty="0" smtClean="0">
                <a:latin typeface="Algerian" pitchFamily="82" charset="0"/>
              </a:rPr>
              <a:t>                 </a:t>
            </a:r>
            <a:r>
              <a:rPr lang="en-US" sz="4400" b="0" dirty="0" smtClean="0">
                <a:latin typeface="Algerian" pitchFamily="82" charset="0"/>
              </a:rPr>
              <a:t>TECHNOLOGIES   USED </a:t>
            </a:r>
            <a:endParaRPr lang="en-US" sz="4400" b="0" dirty="0">
              <a:latin typeface="Algerian" pitchFamily="82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="" xmlns:a16="http://schemas.microsoft.com/office/drawing/2014/main" id="{32107879-6500-497E-B77B-D1D5A135877B}"/>
              </a:ext>
            </a:extLst>
          </p:cNvPr>
          <p:cNvCxnSpPr>
            <a:cxnSpLocks/>
          </p:cNvCxnSpPr>
          <p:nvPr/>
        </p:nvCxnSpPr>
        <p:spPr>
          <a:xfrm flipV="1">
            <a:off x="7696200" y="1402874"/>
            <a:ext cx="0" cy="11593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="" xmlns:a16="http://schemas.microsoft.com/office/drawing/2014/main" id="{9BB1D22B-4616-40FE-9732-8D500DEA87BE}"/>
              </a:ext>
            </a:extLst>
          </p:cNvPr>
          <p:cNvCxnSpPr>
            <a:cxnSpLocks/>
          </p:cNvCxnSpPr>
          <p:nvPr/>
        </p:nvCxnSpPr>
        <p:spPr>
          <a:xfrm flipV="1">
            <a:off x="7696200" y="2562225"/>
            <a:ext cx="0" cy="35147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46">
            <a:extLst>
              <a:ext uri="{FF2B5EF4-FFF2-40B4-BE49-F238E27FC236}">
                <a16:creationId xmlns="" xmlns:a16="http://schemas.microsoft.com/office/drawing/2014/main" id="{C5B66388-F709-42E7-9712-4E277D758B5D}"/>
              </a:ext>
            </a:extLst>
          </p:cNvPr>
          <p:cNvGrpSpPr/>
          <p:nvPr/>
        </p:nvGrpSpPr>
        <p:grpSpPr>
          <a:xfrm>
            <a:off x="4500067" y="1067549"/>
            <a:ext cx="2796647" cy="4722902"/>
            <a:chOff x="4500067" y="1639644"/>
            <a:chExt cx="2796647" cy="4722902"/>
          </a:xfrm>
        </p:grpSpPr>
        <p:sp>
          <p:nvSpPr>
            <p:cNvPr id="48" name="Shape">
              <a:extLst>
                <a:ext uri="{FF2B5EF4-FFF2-40B4-BE49-F238E27FC236}">
                  <a16:creationId xmlns="" xmlns:a16="http://schemas.microsoft.com/office/drawing/2014/main" id="{BD762449-01F4-4FB1-A6B0-558DE615A3A9}"/>
                </a:ext>
              </a:extLst>
            </p:cNvPr>
            <p:cNvSpPr/>
            <p:nvPr/>
          </p:nvSpPr>
          <p:spPr>
            <a:xfrm>
              <a:off x="4506204" y="1639644"/>
              <a:ext cx="2790510" cy="1606471"/>
            </a:xfrm>
            <a:custGeom>
              <a:avLst/>
              <a:gdLst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21600 w 21600"/>
                <a:gd name="connsiteY46" fmla="*/ 21600 h 21600"/>
                <a:gd name="connsiteX47" fmla="*/ 21198 w 21600"/>
                <a:gd name="connsiteY47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21600 w 21600"/>
                <a:gd name="connsiteY47" fmla="*/ 21600 h 21600"/>
                <a:gd name="connsiteX48" fmla="*/ 21198 w 21600"/>
                <a:gd name="connsiteY48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19920 w 21600"/>
                <a:gd name="connsiteY47" fmla="*/ 21507 h 21600"/>
                <a:gd name="connsiteX48" fmla="*/ 21600 w 21600"/>
                <a:gd name="connsiteY48" fmla="*/ 21600 h 21600"/>
                <a:gd name="connsiteX49" fmla="*/ 21198 w 21600"/>
                <a:gd name="connsiteY49" fmla="*/ 19722 h 21600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9920 w 21600"/>
                <a:gd name="connsiteY47" fmla="*/ 21507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514 w 21600"/>
                <a:gd name="connsiteY46" fmla="*/ 21732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25 w 21527"/>
                <a:gd name="connsiteY0" fmla="*/ 19722 h 23761"/>
                <a:gd name="connsiteX1" fmla="*/ 20603 w 21527"/>
                <a:gd name="connsiteY1" fmla="*/ 19290 h 23761"/>
                <a:gd name="connsiteX2" fmla="*/ 20267 w 21527"/>
                <a:gd name="connsiteY2" fmla="*/ 18170 h 23761"/>
                <a:gd name="connsiteX3" fmla="*/ 19965 w 21527"/>
                <a:gd name="connsiteY3" fmla="*/ 18638 h 23761"/>
                <a:gd name="connsiteX4" fmla="*/ 19527 w 21527"/>
                <a:gd name="connsiteY4" fmla="*/ 18422 h 23761"/>
                <a:gd name="connsiteX5" fmla="*/ 18739 w 21527"/>
                <a:gd name="connsiteY5" fmla="*/ 17123 h 23761"/>
                <a:gd name="connsiteX6" fmla="*/ 18655 w 21527"/>
                <a:gd name="connsiteY6" fmla="*/ 16076 h 23761"/>
                <a:gd name="connsiteX7" fmla="*/ 17396 w 21527"/>
                <a:gd name="connsiteY7" fmla="*/ 16618 h 23761"/>
                <a:gd name="connsiteX8" fmla="*/ 17245 w 21527"/>
                <a:gd name="connsiteY8" fmla="*/ 15171 h 23761"/>
                <a:gd name="connsiteX9" fmla="*/ 16957 w 21527"/>
                <a:gd name="connsiteY9" fmla="*/ 15135 h 23761"/>
                <a:gd name="connsiteX10" fmla="*/ 16404 w 21527"/>
                <a:gd name="connsiteY10" fmla="*/ 15787 h 23761"/>
                <a:gd name="connsiteX11" fmla="*/ 15647 w 21527"/>
                <a:gd name="connsiteY11" fmla="*/ 15103 h 23761"/>
                <a:gd name="connsiteX12" fmla="*/ 15497 w 21527"/>
                <a:gd name="connsiteY12" fmla="*/ 14051 h 23761"/>
                <a:gd name="connsiteX13" fmla="*/ 15228 w 21527"/>
                <a:gd name="connsiteY13" fmla="*/ 13330 h 23761"/>
                <a:gd name="connsiteX14" fmla="*/ 14507 w 21527"/>
                <a:gd name="connsiteY14" fmla="*/ 12825 h 23761"/>
                <a:gd name="connsiteX15" fmla="*/ 14507 w 21527"/>
                <a:gd name="connsiteY15" fmla="*/ 11668 h 23761"/>
                <a:gd name="connsiteX16" fmla="*/ 14036 w 21527"/>
                <a:gd name="connsiteY16" fmla="*/ 11489 h 23761"/>
                <a:gd name="connsiteX17" fmla="*/ 14220 w 21527"/>
                <a:gd name="connsiteY17" fmla="*/ 10511 h 23761"/>
                <a:gd name="connsiteX18" fmla="*/ 14052 w 21527"/>
                <a:gd name="connsiteY18" fmla="*/ 9969 h 23761"/>
                <a:gd name="connsiteX19" fmla="*/ 13952 w 21527"/>
                <a:gd name="connsiteY19" fmla="*/ 9285 h 23761"/>
                <a:gd name="connsiteX20" fmla="*/ 13650 w 21527"/>
                <a:gd name="connsiteY20" fmla="*/ 9032 h 23761"/>
                <a:gd name="connsiteX21" fmla="*/ 13650 w 21527"/>
                <a:gd name="connsiteY21" fmla="*/ 8059 h 23761"/>
                <a:gd name="connsiteX22" fmla="*/ 12793 w 21527"/>
                <a:gd name="connsiteY22" fmla="*/ 8022 h 23761"/>
                <a:gd name="connsiteX23" fmla="*/ 12390 w 21527"/>
                <a:gd name="connsiteY23" fmla="*/ 6144 h 23761"/>
                <a:gd name="connsiteX24" fmla="*/ 11653 w 21527"/>
                <a:gd name="connsiteY24" fmla="*/ 4652 h 23761"/>
                <a:gd name="connsiteX25" fmla="*/ 11835 w 21527"/>
                <a:gd name="connsiteY25" fmla="*/ 3747 h 23761"/>
                <a:gd name="connsiteX26" fmla="*/ 11835 w 21527"/>
                <a:gd name="connsiteY26" fmla="*/ 2783 h 23761"/>
                <a:gd name="connsiteX27" fmla="*/ 11490 w 21527"/>
                <a:gd name="connsiteY27" fmla="*/ 2783 h 23761"/>
                <a:gd name="connsiteX28" fmla="*/ 11162 w 21527"/>
                <a:gd name="connsiteY28" fmla="*/ 3003 h 23761"/>
                <a:gd name="connsiteX29" fmla="*/ 11097 w 21527"/>
                <a:gd name="connsiteY29" fmla="*/ 2457 h 23761"/>
                <a:gd name="connsiteX30" fmla="*/ 10474 w 21527"/>
                <a:gd name="connsiteY30" fmla="*/ 0 h 23761"/>
                <a:gd name="connsiteX31" fmla="*/ 9988 w 21527"/>
                <a:gd name="connsiteY31" fmla="*/ 1304 h 23761"/>
                <a:gd name="connsiteX32" fmla="*/ 9385 w 21527"/>
                <a:gd name="connsiteY32" fmla="*/ 1736 h 23761"/>
                <a:gd name="connsiteX33" fmla="*/ 8510 w 21527"/>
                <a:gd name="connsiteY33" fmla="*/ 3471 h 23761"/>
                <a:gd name="connsiteX34" fmla="*/ 6832 w 21527"/>
                <a:gd name="connsiteY34" fmla="*/ 6865 h 23761"/>
                <a:gd name="connsiteX35" fmla="*/ 5840 w 21527"/>
                <a:gd name="connsiteY35" fmla="*/ 9753 h 23761"/>
                <a:gd name="connsiteX36" fmla="*/ 5421 w 21527"/>
                <a:gd name="connsiteY36" fmla="*/ 9753 h 23761"/>
                <a:gd name="connsiteX37" fmla="*/ 4647 w 21527"/>
                <a:gd name="connsiteY37" fmla="*/ 10658 h 23761"/>
                <a:gd name="connsiteX38" fmla="*/ 4497 w 21527"/>
                <a:gd name="connsiteY38" fmla="*/ 12031 h 23761"/>
                <a:gd name="connsiteX39" fmla="*/ 2918 w 21527"/>
                <a:gd name="connsiteY39" fmla="*/ 12462 h 23761"/>
                <a:gd name="connsiteX40" fmla="*/ 2329 w 21527"/>
                <a:gd name="connsiteY40" fmla="*/ 15318 h 23761"/>
                <a:gd name="connsiteX41" fmla="*/ 1287 w 21527"/>
                <a:gd name="connsiteY41" fmla="*/ 16691 h 23761"/>
                <a:gd name="connsiteX42" fmla="*/ 1287 w 21527"/>
                <a:gd name="connsiteY42" fmla="*/ 18675 h 23761"/>
                <a:gd name="connsiteX43" fmla="*/ 382 w 21527"/>
                <a:gd name="connsiteY43" fmla="*/ 19759 h 23761"/>
                <a:gd name="connsiteX44" fmla="*/ 0 w 21527"/>
                <a:gd name="connsiteY44" fmla="*/ 21882 h 23761"/>
                <a:gd name="connsiteX45" fmla="*/ 7561 w 21527"/>
                <a:gd name="connsiteY45" fmla="*/ 23761 h 23761"/>
                <a:gd name="connsiteX46" fmla="*/ 11441 w 21527"/>
                <a:gd name="connsiteY46" fmla="*/ 21732 h 23761"/>
                <a:gd name="connsiteX47" fmla="*/ 18201 w 21527"/>
                <a:gd name="connsiteY47" fmla="*/ 23423 h 23761"/>
                <a:gd name="connsiteX48" fmla="*/ 21527 w 21527"/>
                <a:gd name="connsiteY48" fmla="*/ 21600 h 23761"/>
                <a:gd name="connsiteX49" fmla="*/ 21125 w 21527"/>
                <a:gd name="connsiteY49" fmla="*/ 19722 h 23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1527" h="23761" extrusionOk="0">
                  <a:moveTo>
                    <a:pt x="21125" y="19722"/>
                  </a:moveTo>
                  <a:lnTo>
                    <a:pt x="20603" y="19290"/>
                  </a:lnTo>
                  <a:lnTo>
                    <a:pt x="20267" y="18170"/>
                  </a:lnTo>
                  <a:lnTo>
                    <a:pt x="19965" y="18638"/>
                  </a:lnTo>
                  <a:lnTo>
                    <a:pt x="19527" y="18422"/>
                  </a:lnTo>
                  <a:lnTo>
                    <a:pt x="18739" y="17123"/>
                  </a:lnTo>
                  <a:lnTo>
                    <a:pt x="18655" y="16076"/>
                  </a:lnTo>
                  <a:lnTo>
                    <a:pt x="17396" y="16618"/>
                  </a:lnTo>
                  <a:cubicBezTo>
                    <a:pt x="17346" y="16136"/>
                    <a:pt x="17295" y="15653"/>
                    <a:pt x="17245" y="15171"/>
                  </a:cubicBezTo>
                  <a:lnTo>
                    <a:pt x="16957" y="15135"/>
                  </a:lnTo>
                  <a:lnTo>
                    <a:pt x="16404" y="15787"/>
                  </a:lnTo>
                  <a:lnTo>
                    <a:pt x="15647" y="15103"/>
                  </a:lnTo>
                  <a:lnTo>
                    <a:pt x="15497" y="14051"/>
                  </a:lnTo>
                  <a:cubicBezTo>
                    <a:pt x="15407" y="13811"/>
                    <a:pt x="15318" y="13570"/>
                    <a:pt x="15228" y="13330"/>
                  </a:cubicBezTo>
                  <a:lnTo>
                    <a:pt x="14507" y="12825"/>
                  </a:lnTo>
                  <a:lnTo>
                    <a:pt x="14507" y="11668"/>
                  </a:lnTo>
                  <a:lnTo>
                    <a:pt x="14036" y="11489"/>
                  </a:lnTo>
                  <a:cubicBezTo>
                    <a:pt x="14097" y="11163"/>
                    <a:pt x="14159" y="10837"/>
                    <a:pt x="14220" y="10511"/>
                  </a:cubicBezTo>
                  <a:lnTo>
                    <a:pt x="14052" y="9969"/>
                  </a:lnTo>
                  <a:cubicBezTo>
                    <a:pt x="14019" y="9741"/>
                    <a:pt x="13985" y="9513"/>
                    <a:pt x="13952" y="9285"/>
                  </a:cubicBezTo>
                  <a:lnTo>
                    <a:pt x="13650" y="9032"/>
                  </a:lnTo>
                  <a:lnTo>
                    <a:pt x="13650" y="8059"/>
                  </a:lnTo>
                  <a:lnTo>
                    <a:pt x="12793" y="8022"/>
                  </a:lnTo>
                  <a:cubicBezTo>
                    <a:pt x="12659" y="7396"/>
                    <a:pt x="12524" y="6770"/>
                    <a:pt x="12390" y="6144"/>
                  </a:cubicBezTo>
                  <a:lnTo>
                    <a:pt x="11653" y="4652"/>
                  </a:lnTo>
                  <a:cubicBezTo>
                    <a:pt x="11714" y="4350"/>
                    <a:pt x="11774" y="4049"/>
                    <a:pt x="11835" y="3747"/>
                  </a:cubicBezTo>
                  <a:lnTo>
                    <a:pt x="11835" y="2783"/>
                  </a:lnTo>
                  <a:lnTo>
                    <a:pt x="11490" y="2783"/>
                  </a:lnTo>
                  <a:lnTo>
                    <a:pt x="11162" y="3003"/>
                  </a:lnTo>
                  <a:cubicBezTo>
                    <a:pt x="11140" y="2821"/>
                    <a:pt x="11119" y="2639"/>
                    <a:pt x="11097" y="2457"/>
                  </a:cubicBezTo>
                  <a:lnTo>
                    <a:pt x="10474" y="0"/>
                  </a:lnTo>
                  <a:lnTo>
                    <a:pt x="9988" y="1304"/>
                  </a:lnTo>
                  <a:lnTo>
                    <a:pt x="9385" y="1736"/>
                  </a:lnTo>
                  <a:lnTo>
                    <a:pt x="8510" y="3471"/>
                  </a:lnTo>
                  <a:lnTo>
                    <a:pt x="6832" y="6865"/>
                  </a:lnTo>
                  <a:lnTo>
                    <a:pt x="5840" y="9753"/>
                  </a:lnTo>
                  <a:lnTo>
                    <a:pt x="5421" y="9753"/>
                  </a:lnTo>
                  <a:lnTo>
                    <a:pt x="4647" y="10658"/>
                  </a:lnTo>
                  <a:lnTo>
                    <a:pt x="4497" y="12031"/>
                  </a:lnTo>
                  <a:lnTo>
                    <a:pt x="2918" y="12462"/>
                  </a:lnTo>
                  <a:lnTo>
                    <a:pt x="2329" y="15318"/>
                  </a:lnTo>
                  <a:lnTo>
                    <a:pt x="1287" y="16691"/>
                  </a:lnTo>
                  <a:lnTo>
                    <a:pt x="1287" y="18675"/>
                  </a:lnTo>
                  <a:lnTo>
                    <a:pt x="382" y="19759"/>
                  </a:lnTo>
                  <a:cubicBezTo>
                    <a:pt x="255" y="20467"/>
                    <a:pt x="127" y="21174"/>
                    <a:pt x="0" y="21882"/>
                  </a:cubicBezTo>
                  <a:lnTo>
                    <a:pt x="7561" y="23761"/>
                  </a:lnTo>
                  <a:lnTo>
                    <a:pt x="11441" y="21732"/>
                  </a:lnTo>
                  <a:cubicBezTo>
                    <a:pt x="13753" y="22408"/>
                    <a:pt x="15536" y="24099"/>
                    <a:pt x="18201" y="23423"/>
                  </a:cubicBezTo>
                  <a:lnTo>
                    <a:pt x="21527" y="21600"/>
                  </a:lnTo>
                  <a:lnTo>
                    <a:pt x="21125" y="19722"/>
                  </a:ln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49" name="Shape">
              <a:extLst>
                <a:ext uri="{FF2B5EF4-FFF2-40B4-BE49-F238E27FC236}">
                  <a16:creationId xmlns="" xmlns:a16="http://schemas.microsoft.com/office/drawing/2014/main" id="{D712966F-F262-4ACC-8455-984395925E0F}"/>
                </a:ext>
              </a:extLst>
            </p:cNvPr>
            <p:cNvSpPr/>
            <p:nvPr/>
          </p:nvSpPr>
          <p:spPr>
            <a:xfrm>
              <a:off x="5924820" y="1825918"/>
              <a:ext cx="118905" cy="162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456"/>
                  </a:moveTo>
                  <a:lnTo>
                    <a:pt x="13479" y="0"/>
                  </a:lnTo>
                  <a:lnTo>
                    <a:pt x="21600" y="0"/>
                  </a:lnTo>
                  <a:lnTo>
                    <a:pt x="21600" y="8640"/>
                  </a:lnTo>
                  <a:lnTo>
                    <a:pt x="14720" y="21600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="" xmlns:a16="http://schemas.microsoft.com/office/drawing/2014/main" id="{21F91AD2-30E6-4D2C-A006-42C8EA73F6E0}"/>
                </a:ext>
              </a:extLst>
            </p:cNvPr>
            <p:cNvSpPr/>
            <p:nvPr/>
          </p:nvSpPr>
          <p:spPr>
            <a:xfrm>
              <a:off x="4807195" y="2633094"/>
              <a:ext cx="342739" cy="3191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1"/>
                  </a:moveTo>
                  <a:lnTo>
                    <a:pt x="7689" y="7270"/>
                  </a:lnTo>
                  <a:lnTo>
                    <a:pt x="11720" y="7270"/>
                  </a:lnTo>
                  <a:lnTo>
                    <a:pt x="13539" y="2038"/>
                  </a:lnTo>
                  <a:lnTo>
                    <a:pt x="17198" y="0"/>
                  </a:lnTo>
                  <a:lnTo>
                    <a:pt x="19761" y="5295"/>
                  </a:lnTo>
                  <a:lnTo>
                    <a:pt x="19761" y="11893"/>
                  </a:lnTo>
                  <a:lnTo>
                    <a:pt x="21600" y="18511"/>
                  </a:lnTo>
                  <a:lnTo>
                    <a:pt x="17941" y="21600"/>
                  </a:lnTo>
                  <a:lnTo>
                    <a:pt x="15007" y="19163"/>
                  </a:lnTo>
                  <a:lnTo>
                    <a:pt x="7513" y="19835"/>
                  </a:lnTo>
                  <a:lnTo>
                    <a:pt x="5126" y="16515"/>
                  </a:lnTo>
                  <a:close/>
                </a:path>
              </a:pathLst>
            </a:custGeom>
            <a:solidFill>
              <a:srgbClr val="ADDF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1" name="Shape">
              <a:extLst>
                <a:ext uri="{FF2B5EF4-FFF2-40B4-BE49-F238E27FC236}">
                  <a16:creationId xmlns="" xmlns:a16="http://schemas.microsoft.com/office/drawing/2014/main" id="{10B55714-4889-4627-A148-5D48B8C35A71}"/>
                </a:ext>
              </a:extLst>
            </p:cNvPr>
            <p:cNvSpPr/>
            <p:nvPr/>
          </p:nvSpPr>
          <p:spPr>
            <a:xfrm>
              <a:off x="5862732" y="2757272"/>
              <a:ext cx="60851" cy="110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21600" y="1083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2" name="Shape">
              <a:extLst>
                <a:ext uri="{FF2B5EF4-FFF2-40B4-BE49-F238E27FC236}">
                  <a16:creationId xmlns="" xmlns:a16="http://schemas.microsoft.com/office/drawing/2014/main" id="{E60C7D4C-FD06-419C-BF11-BDCC9AFB0655}"/>
                </a:ext>
              </a:extLst>
            </p:cNvPr>
            <p:cNvSpPr/>
            <p:nvPr/>
          </p:nvSpPr>
          <p:spPr>
            <a:xfrm>
              <a:off x="6017955" y="2788320"/>
              <a:ext cx="226633" cy="15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3876" y="12313"/>
                  </a:lnTo>
                  <a:lnTo>
                    <a:pt x="5001" y="0"/>
                  </a:lnTo>
                  <a:lnTo>
                    <a:pt x="14114" y="6177"/>
                  </a:lnTo>
                  <a:lnTo>
                    <a:pt x="19647" y="4833"/>
                  </a:lnTo>
                  <a:lnTo>
                    <a:pt x="21600" y="21600"/>
                  </a:lnTo>
                  <a:lnTo>
                    <a:pt x="10800" y="16305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3" name="Shape">
              <a:extLst>
                <a:ext uri="{FF2B5EF4-FFF2-40B4-BE49-F238E27FC236}">
                  <a16:creationId xmlns="" xmlns:a16="http://schemas.microsoft.com/office/drawing/2014/main" id="{8052BC4C-0D7E-4207-B3DF-0A46CFA1E463}"/>
                </a:ext>
              </a:extLst>
            </p:cNvPr>
            <p:cNvSpPr/>
            <p:nvPr/>
          </p:nvSpPr>
          <p:spPr>
            <a:xfrm>
              <a:off x="5583322" y="2726227"/>
              <a:ext cx="162682" cy="2247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139"/>
                  </a:moveTo>
                  <a:lnTo>
                    <a:pt x="0" y="5012"/>
                  </a:lnTo>
                  <a:lnTo>
                    <a:pt x="5812" y="1551"/>
                  </a:lnTo>
                  <a:lnTo>
                    <a:pt x="17766" y="0"/>
                  </a:lnTo>
                  <a:lnTo>
                    <a:pt x="21600" y="5012"/>
                  </a:lnTo>
                  <a:lnTo>
                    <a:pt x="10800" y="21600"/>
                  </a:lnTo>
                  <a:lnTo>
                    <a:pt x="7337" y="15335"/>
                  </a:lnTo>
                  <a:close/>
                </a:path>
              </a:pathLst>
            </a:custGeom>
            <a:solidFill>
              <a:srgbClr val="90DAF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Shape">
              <a:extLst>
                <a:ext uri="{FF2B5EF4-FFF2-40B4-BE49-F238E27FC236}">
                  <a16:creationId xmlns="" xmlns:a16="http://schemas.microsoft.com/office/drawing/2014/main" id="{FD74CCC1-2377-41C9-BF0F-22EDA0E784BE}"/>
                </a:ext>
              </a:extLst>
            </p:cNvPr>
            <p:cNvSpPr/>
            <p:nvPr/>
          </p:nvSpPr>
          <p:spPr>
            <a:xfrm>
              <a:off x="5986913" y="2664137"/>
              <a:ext cx="295861" cy="129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5592"/>
                  </a:moveTo>
                  <a:lnTo>
                    <a:pt x="17588" y="0"/>
                  </a:lnTo>
                  <a:lnTo>
                    <a:pt x="21600" y="12898"/>
                  </a:lnTo>
                  <a:lnTo>
                    <a:pt x="21600" y="21600"/>
                  </a:lnTo>
                  <a:lnTo>
                    <a:pt x="11854" y="15592"/>
                  </a:lnTo>
                  <a:close/>
                </a:path>
              </a:pathLst>
            </a:custGeom>
            <a:solidFill>
              <a:srgbClr val="96D7F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5" name="Shape">
              <a:extLst>
                <a:ext uri="{FF2B5EF4-FFF2-40B4-BE49-F238E27FC236}">
                  <a16:creationId xmlns="" xmlns:a16="http://schemas.microsoft.com/office/drawing/2014/main" id="{55685BB9-F1BC-401A-9C35-6C768251958B}"/>
                </a:ext>
              </a:extLst>
            </p:cNvPr>
            <p:cNvSpPr/>
            <p:nvPr/>
          </p:nvSpPr>
          <p:spPr>
            <a:xfrm>
              <a:off x="6359452" y="2788320"/>
              <a:ext cx="339637" cy="2700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60"/>
                  </a:moveTo>
                  <a:lnTo>
                    <a:pt x="6456" y="1564"/>
                  </a:lnTo>
                  <a:lnTo>
                    <a:pt x="11254" y="0"/>
                  </a:lnTo>
                  <a:lnTo>
                    <a:pt x="16072" y="6381"/>
                  </a:lnTo>
                  <a:lnTo>
                    <a:pt x="18836" y="17702"/>
                  </a:lnTo>
                  <a:lnTo>
                    <a:pt x="21600" y="21600"/>
                  </a:lnTo>
                  <a:lnTo>
                    <a:pt x="9240" y="15617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6" name="Shape">
              <a:extLst>
                <a:ext uri="{FF2B5EF4-FFF2-40B4-BE49-F238E27FC236}">
                  <a16:creationId xmlns="" xmlns:a16="http://schemas.microsoft.com/office/drawing/2014/main" id="{9DFE4CF8-EF06-4F45-89F1-8C83EEFEE7ED}"/>
                </a:ext>
              </a:extLst>
            </p:cNvPr>
            <p:cNvSpPr/>
            <p:nvPr/>
          </p:nvSpPr>
          <p:spPr>
            <a:xfrm>
              <a:off x="6700950" y="2912501"/>
              <a:ext cx="284689" cy="120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627"/>
                  </a:moveTo>
                  <a:lnTo>
                    <a:pt x="12555" y="0"/>
                  </a:lnTo>
                  <a:lnTo>
                    <a:pt x="21600" y="21600"/>
                  </a:lnTo>
                  <a:lnTo>
                    <a:pt x="13238" y="21600"/>
                  </a:lnTo>
                  <a:lnTo>
                    <a:pt x="11895" y="108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BEC871C6-6822-4D8E-ABF0-FA4516BDCAC0}"/>
                </a:ext>
              </a:extLst>
            </p:cNvPr>
            <p:cNvSpPr/>
            <p:nvPr/>
          </p:nvSpPr>
          <p:spPr>
            <a:xfrm>
              <a:off x="5621513" y="1639644"/>
              <a:ext cx="1010214" cy="1086896"/>
            </a:xfrm>
            <a:custGeom>
              <a:avLst/>
              <a:gdLst>
                <a:gd name="connsiteX0" fmla="*/ 241516 w 1010214"/>
                <a:gd name="connsiteY0" fmla="*/ 0 h 1086896"/>
                <a:gd name="connsiteX1" fmla="*/ 322240 w 1010214"/>
                <a:gd name="connsiteY1" fmla="*/ 166104 h 1086896"/>
                <a:gd name="connsiteX2" fmla="*/ 343987 w 1010214"/>
                <a:gd name="connsiteY2" fmla="*/ 261409 h 1086896"/>
                <a:gd name="connsiteX3" fmla="*/ 489907 w 1010214"/>
                <a:gd name="connsiteY3" fmla="*/ 415386 h 1086896"/>
                <a:gd name="connsiteX4" fmla="*/ 542055 w 1010214"/>
                <a:gd name="connsiteY4" fmla="*/ 542341 h 1086896"/>
                <a:gd name="connsiteX5" fmla="*/ 653178 w 1010214"/>
                <a:gd name="connsiteY5" fmla="*/ 544857 h 1086896"/>
                <a:gd name="connsiteX6" fmla="*/ 653178 w 1010214"/>
                <a:gd name="connsiteY6" fmla="*/ 610675 h 1086896"/>
                <a:gd name="connsiteX7" fmla="*/ 692324 w 1010214"/>
                <a:gd name="connsiteY7" fmla="*/ 627733 h 1086896"/>
                <a:gd name="connsiteX8" fmla="*/ 705326 w 1010214"/>
                <a:gd name="connsiteY8" fmla="*/ 673976 h 1086896"/>
                <a:gd name="connsiteX9" fmla="*/ 727074 w 1010214"/>
                <a:gd name="connsiteY9" fmla="*/ 710609 h 1086896"/>
                <a:gd name="connsiteX10" fmla="*/ 703175 w 1010214"/>
                <a:gd name="connsiteY10" fmla="*/ 776779 h 1086896"/>
                <a:gd name="connsiteX11" fmla="*/ 764349 w 1010214"/>
                <a:gd name="connsiteY11" fmla="*/ 788855 h 1086896"/>
                <a:gd name="connsiteX12" fmla="*/ 764349 w 1010214"/>
                <a:gd name="connsiteY12" fmla="*/ 867102 h 1086896"/>
                <a:gd name="connsiteX13" fmla="*/ 857794 w 1010214"/>
                <a:gd name="connsiteY13" fmla="*/ 901268 h 1086896"/>
                <a:gd name="connsiteX14" fmla="*/ 892543 w 1010214"/>
                <a:gd name="connsiteY14" fmla="*/ 949977 h 1086896"/>
                <a:gd name="connsiteX15" fmla="*/ 912093 w 1010214"/>
                <a:gd name="connsiteY15" fmla="*/ 1021079 h 1086896"/>
                <a:gd name="connsiteX16" fmla="*/ 1010214 w 1010214"/>
                <a:gd name="connsiteY16" fmla="*/ 1067322 h 1086896"/>
                <a:gd name="connsiteX17" fmla="*/ 870842 w 1010214"/>
                <a:gd name="connsiteY17" fmla="*/ 1086896 h 1086896"/>
                <a:gd name="connsiteX18" fmla="*/ 870842 w 1010214"/>
                <a:gd name="connsiteY18" fmla="*/ 1009606 h 1086896"/>
                <a:gd name="connsiteX19" fmla="*/ 778005 w 1010214"/>
                <a:gd name="connsiteY19" fmla="*/ 933825 h 1086896"/>
                <a:gd name="connsiteX20" fmla="*/ 647285 w 1010214"/>
                <a:gd name="connsiteY20" fmla="*/ 842546 h 1086896"/>
                <a:gd name="connsiteX21" fmla="*/ 628344 w 1010214"/>
                <a:gd name="connsiteY21" fmla="*/ 854975 h 1086896"/>
                <a:gd name="connsiteX22" fmla="*/ 627409 w 1010214"/>
                <a:gd name="connsiteY22" fmla="*/ 852143 h 1086896"/>
                <a:gd name="connsiteX23" fmla="*/ 447462 w 1010214"/>
                <a:gd name="connsiteY23" fmla="*/ 969234 h 1086896"/>
                <a:gd name="connsiteX24" fmla="*/ 340051 w 1010214"/>
                <a:gd name="connsiteY24" fmla="*/ 946254 h 1086896"/>
                <a:gd name="connsiteX25" fmla="*/ 274861 w 1010214"/>
                <a:gd name="connsiteY25" fmla="*/ 969234 h 1086896"/>
                <a:gd name="connsiteX26" fmla="*/ 186062 w 1010214"/>
                <a:gd name="connsiteY26" fmla="*/ 904035 h 1086896"/>
                <a:gd name="connsiteX27" fmla="*/ 139237 w 1010214"/>
                <a:gd name="connsiteY27" fmla="*/ 925280 h 1086896"/>
                <a:gd name="connsiteX28" fmla="*/ 135678 w 1010214"/>
                <a:gd name="connsiteY28" fmla="*/ 930403 h 1086896"/>
                <a:gd name="connsiteX29" fmla="*/ 120758 w 1010214"/>
                <a:gd name="connsiteY29" fmla="*/ 936945 h 1086896"/>
                <a:gd name="connsiteX30" fmla="*/ 78245 w 1010214"/>
                <a:gd name="connsiteY30" fmla="*/ 865542 h 1086896"/>
                <a:gd name="connsiteX31" fmla="*/ 55281 w 1010214"/>
                <a:gd name="connsiteY31" fmla="*/ 806869 h 1086896"/>
                <a:gd name="connsiteX32" fmla="*/ 0 w 1010214"/>
                <a:gd name="connsiteY32" fmla="*/ 832935 h 1086896"/>
                <a:gd name="connsiteX33" fmla="*/ 0 w 1010214"/>
                <a:gd name="connsiteY33" fmla="*/ 777684 h 1086896"/>
                <a:gd name="connsiteX34" fmla="*/ 84138 w 1010214"/>
                <a:gd name="connsiteY34" fmla="*/ 699438 h 1086896"/>
                <a:gd name="connsiteX35" fmla="*/ 136286 w 1010214"/>
                <a:gd name="connsiteY35" fmla="*/ 569061 h 1086896"/>
                <a:gd name="connsiteX36" fmla="*/ 84138 w 1010214"/>
                <a:gd name="connsiteY36" fmla="*/ 455138 h 1086896"/>
                <a:gd name="connsiteX37" fmla="*/ 153964 w 1010214"/>
                <a:gd name="connsiteY37" fmla="*/ 292456 h 1086896"/>
                <a:gd name="connsiteX38" fmla="*/ 216682 w 1010214"/>
                <a:gd name="connsiteY38" fmla="*/ 162078 h 1086896"/>
                <a:gd name="connsiteX39" fmla="*/ 191567 w 1010214"/>
                <a:gd name="connsiteY39" fmla="*/ 122930 h 108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0214" h="1086896">
                  <a:moveTo>
                    <a:pt x="241516" y="0"/>
                  </a:moveTo>
                  <a:lnTo>
                    <a:pt x="322240" y="166104"/>
                  </a:lnTo>
                  <a:lnTo>
                    <a:pt x="343987" y="261409"/>
                  </a:lnTo>
                  <a:lnTo>
                    <a:pt x="489907" y="415386"/>
                  </a:lnTo>
                  <a:lnTo>
                    <a:pt x="542055" y="542341"/>
                  </a:lnTo>
                  <a:lnTo>
                    <a:pt x="653178" y="544857"/>
                  </a:lnTo>
                  <a:lnTo>
                    <a:pt x="653178" y="610675"/>
                  </a:lnTo>
                  <a:lnTo>
                    <a:pt x="692324" y="627733"/>
                  </a:lnTo>
                  <a:lnTo>
                    <a:pt x="705326" y="673976"/>
                  </a:lnTo>
                  <a:lnTo>
                    <a:pt x="727074" y="710609"/>
                  </a:lnTo>
                  <a:lnTo>
                    <a:pt x="703175" y="776779"/>
                  </a:lnTo>
                  <a:lnTo>
                    <a:pt x="764349" y="788855"/>
                  </a:lnTo>
                  <a:lnTo>
                    <a:pt x="764349" y="867102"/>
                  </a:lnTo>
                  <a:lnTo>
                    <a:pt x="857794" y="901268"/>
                  </a:lnTo>
                  <a:lnTo>
                    <a:pt x="892543" y="949977"/>
                  </a:lnTo>
                  <a:lnTo>
                    <a:pt x="912093" y="1021079"/>
                  </a:lnTo>
                  <a:lnTo>
                    <a:pt x="1010214" y="1067322"/>
                  </a:lnTo>
                  <a:lnTo>
                    <a:pt x="870842" y="1086896"/>
                  </a:lnTo>
                  <a:lnTo>
                    <a:pt x="870842" y="1009606"/>
                  </a:lnTo>
                  <a:lnTo>
                    <a:pt x="778005" y="933825"/>
                  </a:lnTo>
                  <a:lnTo>
                    <a:pt x="647285" y="842546"/>
                  </a:lnTo>
                  <a:lnTo>
                    <a:pt x="628344" y="854975"/>
                  </a:lnTo>
                  <a:lnTo>
                    <a:pt x="627409" y="852143"/>
                  </a:lnTo>
                  <a:lnTo>
                    <a:pt x="447462" y="969234"/>
                  </a:lnTo>
                  <a:lnTo>
                    <a:pt x="340051" y="946254"/>
                  </a:lnTo>
                  <a:lnTo>
                    <a:pt x="274861" y="969234"/>
                  </a:lnTo>
                  <a:lnTo>
                    <a:pt x="186062" y="904035"/>
                  </a:lnTo>
                  <a:lnTo>
                    <a:pt x="139237" y="925280"/>
                  </a:lnTo>
                  <a:lnTo>
                    <a:pt x="135678" y="930403"/>
                  </a:lnTo>
                  <a:lnTo>
                    <a:pt x="120758" y="936945"/>
                  </a:lnTo>
                  <a:lnTo>
                    <a:pt x="78245" y="865542"/>
                  </a:lnTo>
                  <a:lnTo>
                    <a:pt x="55281" y="806869"/>
                  </a:lnTo>
                  <a:lnTo>
                    <a:pt x="0" y="832935"/>
                  </a:lnTo>
                  <a:lnTo>
                    <a:pt x="0" y="777684"/>
                  </a:lnTo>
                  <a:lnTo>
                    <a:pt x="84138" y="699438"/>
                  </a:lnTo>
                  <a:lnTo>
                    <a:pt x="136286" y="569061"/>
                  </a:lnTo>
                  <a:lnTo>
                    <a:pt x="84138" y="455138"/>
                  </a:lnTo>
                  <a:lnTo>
                    <a:pt x="153964" y="292456"/>
                  </a:lnTo>
                  <a:lnTo>
                    <a:pt x="216682" y="162078"/>
                  </a:lnTo>
                  <a:lnTo>
                    <a:pt x="191567" y="122930"/>
                  </a:lnTo>
                  <a:close/>
                </a:path>
              </a:pathLst>
            </a:custGeom>
            <a:solidFill>
              <a:srgbClr val="DFF3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="" xmlns:a16="http://schemas.microsoft.com/office/drawing/2014/main" id="{170B54DB-E4B3-49B8-99E0-17B21DC59C6B}"/>
                </a:ext>
              </a:extLst>
            </p:cNvPr>
            <p:cNvSpPr/>
            <p:nvPr/>
          </p:nvSpPr>
          <p:spPr>
            <a:xfrm>
              <a:off x="5757599" y="2260548"/>
              <a:ext cx="492690" cy="348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00" y="7874"/>
                  </a:moveTo>
                  <a:lnTo>
                    <a:pt x="17340" y="10492"/>
                  </a:lnTo>
                  <a:lnTo>
                    <a:pt x="14917" y="9087"/>
                  </a:lnTo>
                  <a:lnTo>
                    <a:pt x="13270" y="2811"/>
                  </a:lnTo>
                  <a:lnTo>
                    <a:pt x="10222" y="0"/>
                  </a:lnTo>
                  <a:lnTo>
                    <a:pt x="6084" y="5236"/>
                  </a:lnTo>
                  <a:lnTo>
                    <a:pt x="5254" y="11089"/>
                  </a:lnTo>
                  <a:lnTo>
                    <a:pt x="2572" y="13726"/>
                  </a:lnTo>
                  <a:lnTo>
                    <a:pt x="0" y="18963"/>
                  </a:lnTo>
                  <a:lnTo>
                    <a:pt x="2191" y="17557"/>
                  </a:lnTo>
                  <a:lnTo>
                    <a:pt x="6084" y="21600"/>
                  </a:lnTo>
                  <a:lnTo>
                    <a:pt x="8942" y="20175"/>
                  </a:lnTo>
                  <a:lnTo>
                    <a:pt x="13651" y="21600"/>
                  </a:lnTo>
                  <a:lnTo>
                    <a:pt x="21600" y="14284"/>
                  </a:lnTo>
                  <a:lnTo>
                    <a:pt x="20525" y="9684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756FE37A-DB6A-40F6-B529-3FC8F5B1935D}"/>
                </a:ext>
              </a:extLst>
            </p:cNvPr>
            <p:cNvSpPr/>
            <p:nvPr/>
          </p:nvSpPr>
          <p:spPr>
            <a:xfrm>
              <a:off x="4500067" y="2973222"/>
              <a:ext cx="2796645" cy="3389324"/>
            </a:xfrm>
            <a:custGeom>
              <a:avLst/>
              <a:gdLst>
                <a:gd name="connsiteX0" fmla="*/ 1538936 w 2796645"/>
                <a:gd name="connsiteY0" fmla="*/ 0 h 3389324"/>
                <a:gd name="connsiteX1" fmla="*/ 1628814 w 2796645"/>
                <a:gd name="connsiteY1" fmla="*/ 88826 h 3389324"/>
                <a:gd name="connsiteX2" fmla="*/ 1700082 w 2796645"/>
                <a:gd name="connsiteY2" fmla="*/ 126788 h 3389324"/>
                <a:gd name="connsiteX3" fmla="*/ 1744479 w 2796645"/>
                <a:gd name="connsiteY3" fmla="*/ 150437 h 3389324"/>
                <a:gd name="connsiteX4" fmla="*/ 2320473 w 2796645"/>
                <a:gd name="connsiteY4" fmla="*/ 155219 h 3389324"/>
                <a:gd name="connsiteX5" fmla="*/ 2395518 w 2796645"/>
                <a:gd name="connsiteY5" fmla="*/ 126788 h 3389324"/>
                <a:gd name="connsiteX6" fmla="*/ 2456668 w 2796645"/>
                <a:gd name="connsiteY6" fmla="*/ 103621 h 3389324"/>
                <a:gd name="connsiteX7" fmla="*/ 2575288 w 2796645"/>
                <a:gd name="connsiteY7" fmla="*/ 33955 h 3389324"/>
                <a:gd name="connsiteX8" fmla="*/ 2713229 w 2796645"/>
                <a:gd name="connsiteY8" fmla="*/ 96569 h 3389324"/>
                <a:gd name="connsiteX9" fmla="*/ 2796645 w 2796645"/>
                <a:gd name="connsiteY9" fmla="*/ 119714 h 3389324"/>
                <a:gd name="connsiteX10" fmla="*/ 2796645 w 2796645"/>
                <a:gd name="connsiteY10" fmla="*/ 127025 h 3389324"/>
                <a:gd name="connsiteX11" fmla="*/ 2796645 w 2796645"/>
                <a:gd name="connsiteY11" fmla="*/ 182776 h 3389324"/>
                <a:gd name="connsiteX12" fmla="*/ 2767838 w 2796645"/>
                <a:gd name="connsiteY12" fmla="*/ 330549 h 3389324"/>
                <a:gd name="connsiteX13" fmla="*/ 2748564 w 2796645"/>
                <a:gd name="connsiteY13" fmla="*/ 429422 h 3389324"/>
                <a:gd name="connsiteX14" fmla="*/ 2630534 w 2796645"/>
                <a:gd name="connsiteY14" fmla="*/ 607405 h 3389324"/>
                <a:gd name="connsiteX15" fmla="*/ 2630534 w 2796645"/>
                <a:gd name="connsiteY15" fmla="*/ 933635 h 3389324"/>
                <a:gd name="connsiteX16" fmla="*/ 2619994 w 2796645"/>
                <a:gd name="connsiteY16" fmla="*/ 951127 h 3389324"/>
                <a:gd name="connsiteX17" fmla="*/ 2494938 w 2796645"/>
                <a:gd name="connsiteY17" fmla="*/ 1159066 h 3389324"/>
                <a:gd name="connsiteX18" fmla="*/ 2418550 w 2796645"/>
                <a:gd name="connsiteY18" fmla="*/ 1627420 h 3389324"/>
                <a:gd name="connsiteX19" fmla="*/ 2212943 w 2796645"/>
                <a:gd name="connsiteY19" fmla="*/ 1698701 h 3389324"/>
                <a:gd name="connsiteX20" fmla="*/ 2193423 w 2796645"/>
                <a:gd name="connsiteY20" fmla="*/ 1923913 h 3389324"/>
                <a:gd name="connsiteX21" fmla="*/ 2092832 w 2796645"/>
                <a:gd name="connsiteY21" fmla="*/ 2072378 h 3389324"/>
                <a:gd name="connsiteX22" fmla="*/ 2038176 w 2796645"/>
                <a:gd name="connsiteY22" fmla="*/ 2072378 h 3389324"/>
                <a:gd name="connsiteX23" fmla="*/ 1909346 w 2796645"/>
                <a:gd name="connsiteY23" fmla="*/ 2547074 h 3389324"/>
                <a:gd name="connsiteX24" fmla="*/ 1690856 w 2796645"/>
                <a:gd name="connsiteY24" fmla="*/ 3104638 h 3389324"/>
                <a:gd name="connsiteX25" fmla="*/ 1577251 w 2796645"/>
                <a:gd name="connsiteY25" fmla="*/ 3389324 h 3389324"/>
                <a:gd name="connsiteX26" fmla="*/ 1093553 w 2796645"/>
                <a:gd name="connsiteY26" fmla="*/ 2955954 h 3389324"/>
                <a:gd name="connsiteX27" fmla="*/ 1037336 w 2796645"/>
                <a:gd name="connsiteY27" fmla="*/ 2666677 h 3389324"/>
                <a:gd name="connsiteX28" fmla="*/ 992050 w 2796645"/>
                <a:gd name="connsiteY28" fmla="*/ 2432718 h 3389324"/>
                <a:gd name="connsiteX29" fmla="*/ 672578 w 2796645"/>
                <a:gd name="connsiteY29" fmla="*/ 2379804 h 3389324"/>
                <a:gd name="connsiteX30" fmla="*/ 705110 w 2796645"/>
                <a:gd name="connsiteY30" fmla="*/ 1963052 h 3389324"/>
                <a:gd name="connsiteX31" fmla="*/ 511735 w 2796645"/>
                <a:gd name="connsiteY31" fmla="*/ 1559200 h 3389324"/>
                <a:gd name="connsiteX32" fmla="*/ 501195 w 2796645"/>
                <a:gd name="connsiteY32" fmla="*/ 1537554 h 3389324"/>
                <a:gd name="connsiteX33" fmla="*/ 410493 w 2796645"/>
                <a:gd name="connsiteY33" fmla="*/ 1808902 h 3389324"/>
                <a:gd name="connsiteX34" fmla="*/ 329812 w 2796645"/>
                <a:gd name="connsiteY34" fmla="*/ 1369191 h 3389324"/>
                <a:gd name="connsiteX35" fmla="*/ 168969 w 2796645"/>
                <a:gd name="connsiteY35" fmla="*/ 1395867 h 3389324"/>
                <a:gd name="connsiteX36" fmla="*/ 200071 w 2796645"/>
                <a:gd name="connsiteY36" fmla="*/ 837428 h 3389324"/>
                <a:gd name="connsiteX37" fmla="*/ 116787 w 2796645"/>
                <a:gd name="connsiteY37" fmla="*/ 507043 h 3389324"/>
                <a:gd name="connsiteX38" fmla="*/ 106636 w 2796645"/>
                <a:gd name="connsiteY38" fmla="*/ 496329 h 3389324"/>
                <a:gd name="connsiteX39" fmla="*/ 49118 w 2796645"/>
                <a:gd name="connsiteY39" fmla="*/ 435981 h 3389324"/>
                <a:gd name="connsiteX40" fmla="*/ 31197 w 2796645"/>
                <a:gd name="connsiteY40" fmla="*/ 330549 h 3389324"/>
                <a:gd name="connsiteX41" fmla="*/ 0 w 2796645"/>
                <a:gd name="connsiteY41" fmla="*/ 147021 h 3389324"/>
                <a:gd name="connsiteX42" fmla="*/ 83760 w 2796645"/>
                <a:gd name="connsiteY42" fmla="*/ 130596 h 3389324"/>
                <a:gd name="connsiteX43" fmla="*/ 97392 w 2796645"/>
                <a:gd name="connsiteY43" fmla="*/ 126788 h 3389324"/>
                <a:gd name="connsiteX44" fmla="*/ 224384 w 2796645"/>
                <a:gd name="connsiteY44" fmla="*/ 91312 h 3389324"/>
                <a:gd name="connsiteX45" fmla="*/ 440206 w 2796645"/>
                <a:gd name="connsiteY45" fmla="*/ 8117 h 3389324"/>
                <a:gd name="connsiteX46" fmla="*/ 582392 w 2796645"/>
                <a:gd name="connsiteY46" fmla="*/ 115674 h 3389324"/>
                <a:gd name="connsiteX47" fmla="*/ 617474 w 2796645"/>
                <a:gd name="connsiteY47" fmla="*/ 126788 h 3389324"/>
                <a:gd name="connsiteX48" fmla="*/ 661933 w 2796645"/>
                <a:gd name="connsiteY48" fmla="*/ 140873 h 3389324"/>
                <a:gd name="connsiteX49" fmla="*/ 894756 w 2796645"/>
                <a:gd name="connsiteY49" fmla="*/ 165458 h 3389324"/>
                <a:gd name="connsiteX50" fmla="*/ 1154676 w 2796645"/>
                <a:gd name="connsiteY50" fmla="*/ 140126 h 3389324"/>
                <a:gd name="connsiteX51" fmla="*/ 1209803 w 2796645"/>
                <a:gd name="connsiteY51" fmla="*/ 126788 h 3389324"/>
                <a:gd name="connsiteX52" fmla="*/ 1261991 w 2796645"/>
                <a:gd name="connsiteY52" fmla="*/ 114161 h 3389324"/>
                <a:gd name="connsiteX53" fmla="*/ 1522723 w 2796645"/>
                <a:gd name="connsiteY53" fmla="*/ 3334 h 338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96645" h="3389324">
                  <a:moveTo>
                    <a:pt x="1538936" y="0"/>
                  </a:moveTo>
                  <a:cubicBezTo>
                    <a:pt x="1563795" y="34314"/>
                    <a:pt x="1594155" y="63838"/>
                    <a:pt x="1628814" y="88826"/>
                  </a:cubicBezTo>
                  <a:lnTo>
                    <a:pt x="1700082" y="126788"/>
                  </a:lnTo>
                  <a:lnTo>
                    <a:pt x="1744479" y="150437"/>
                  </a:lnTo>
                  <a:cubicBezTo>
                    <a:pt x="1912680" y="215119"/>
                    <a:pt x="2130374" y="211293"/>
                    <a:pt x="2320473" y="155219"/>
                  </a:cubicBezTo>
                  <a:lnTo>
                    <a:pt x="2395518" y="126788"/>
                  </a:lnTo>
                  <a:lnTo>
                    <a:pt x="2456668" y="103621"/>
                  </a:lnTo>
                  <a:cubicBezTo>
                    <a:pt x="2499539" y="83326"/>
                    <a:pt x="2539480" y="60019"/>
                    <a:pt x="2575288" y="33955"/>
                  </a:cubicBezTo>
                  <a:cubicBezTo>
                    <a:pt x="2619677" y="58704"/>
                    <a:pt x="2665805" y="79485"/>
                    <a:pt x="2713229" y="96569"/>
                  </a:cubicBezTo>
                  <a:lnTo>
                    <a:pt x="2796645" y="119714"/>
                  </a:lnTo>
                  <a:lnTo>
                    <a:pt x="2796645" y="127025"/>
                  </a:lnTo>
                  <a:lnTo>
                    <a:pt x="2796645" y="182776"/>
                  </a:lnTo>
                  <a:lnTo>
                    <a:pt x="2767838" y="330549"/>
                  </a:lnTo>
                  <a:lnTo>
                    <a:pt x="2748564" y="429422"/>
                  </a:lnTo>
                  <a:lnTo>
                    <a:pt x="2630534" y="607405"/>
                  </a:lnTo>
                  <a:lnTo>
                    <a:pt x="2630534" y="933635"/>
                  </a:lnTo>
                  <a:lnTo>
                    <a:pt x="2619994" y="951127"/>
                  </a:lnTo>
                  <a:lnTo>
                    <a:pt x="2494938" y="1159066"/>
                  </a:lnTo>
                  <a:lnTo>
                    <a:pt x="2418550" y="1627420"/>
                  </a:lnTo>
                  <a:lnTo>
                    <a:pt x="2212943" y="1698701"/>
                  </a:lnTo>
                  <a:lnTo>
                    <a:pt x="2193423" y="1923913"/>
                  </a:lnTo>
                  <a:lnTo>
                    <a:pt x="2092832" y="2072378"/>
                  </a:lnTo>
                  <a:lnTo>
                    <a:pt x="2038176" y="2072378"/>
                  </a:lnTo>
                  <a:lnTo>
                    <a:pt x="1909346" y="2547074"/>
                  </a:lnTo>
                  <a:lnTo>
                    <a:pt x="1690856" y="3104638"/>
                  </a:lnTo>
                  <a:lnTo>
                    <a:pt x="1577251" y="3389324"/>
                  </a:lnTo>
                  <a:lnTo>
                    <a:pt x="1093553" y="2955954"/>
                  </a:lnTo>
                  <a:lnTo>
                    <a:pt x="1037336" y="2666677"/>
                  </a:lnTo>
                  <a:lnTo>
                    <a:pt x="992050" y="2432718"/>
                  </a:lnTo>
                  <a:lnTo>
                    <a:pt x="672578" y="2379804"/>
                  </a:lnTo>
                  <a:lnTo>
                    <a:pt x="705110" y="1963052"/>
                  </a:lnTo>
                  <a:lnTo>
                    <a:pt x="511735" y="1559200"/>
                  </a:lnTo>
                  <a:lnTo>
                    <a:pt x="501195" y="1537554"/>
                  </a:lnTo>
                  <a:lnTo>
                    <a:pt x="410493" y="1808902"/>
                  </a:lnTo>
                  <a:lnTo>
                    <a:pt x="329812" y="1369191"/>
                  </a:lnTo>
                  <a:lnTo>
                    <a:pt x="168969" y="1395867"/>
                  </a:lnTo>
                  <a:lnTo>
                    <a:pt x="200071" y="837428"/>
                  </a:lnTo>
                  <a:lnTo>
                    <a:pt x="116787" y="507043"/>
                  </a:lnTo>
                  <a:lnTo>
                    <a:pt x="106636" y="496329"/>
                  </a:lnTo>
                  <a:lnTo>
                    <a:pt x="49118" y="435981"/>
                  </a:lnTo>
                  <a:lnTo>
                    <a:pt x="31197" y="330549"/>
                  </a:lnTo>
                  <a:lnTo>
                    <a:pt x="0" y="147021"/>
                  </a:lnTo>
                  <a:lnTo>
                    <a:pt x="83760" y="130596"/>
                  </a:lnTo>
                  <a:lnTo>
                    <a:pt x="97392" y="126788"/>
                  </a:lnTo>
                  <a:lnTo>
                    <a:pt x="224384" y="91312"/>
                  </a:lnTo>
                  <a:cubicBezTo>
                    <a:pt x="352944" y="50150"/>
                    <a:pt x="440206" y="8117"/>
                    <a:pt x="440206" y="8117"/>
                  </a:cubicBezTo>
                  <a:cubicBezTo>
                    <a:pt x="440206" y="8117"/>
                    <a:pt x="467950" y="69578"/>
                    <a:pt x="582392" y="115674"/>
                  </a:cubicBezTo>
                  <a:lnTo>
                    <a:pt x="617474" y="126788"/>
                  </a:lnTo>
                  <a:lnTo>
                    <a:pt x="661933" y="140873"/>
                  </a:lnTo>
                  <a:cubicBezTo>
                    <a:pt x="722525" y="155624"/>
                    <a:pt x="798875" y="165458"/>
                    <a:pt x="894756" y="165458"/>
                  </a:cubicBezTo>
                  <a:cubicBezTo>
                    <a:pt x="990638" y="165458"/>
                    <a:pt x="1077827" y="155325"/>
                    <a:pt x="1154676" y="140126"/>
                  </a:cubicBezTo>
                  <a:lnTo>
                    <a:pt x="1209803" y="126788"/>
                  </a:lnTo>
                  <a:lnTo>
                    <a:pt x="1261991" y="114161"/>
                  </a:lnTo>
                  <a:cubicBezTo>
                    <a:pt x="1427239" y="66664"/>
                    <a:pt x="1522723" y="3334"/>
                    <a:pt x="1522723" y="3334"/>
                  </a:cubicBezTo>
                  <a:close/>
                </a:path>
              </a:pathLst>
            </a:custGeom>
            <a:solidFill>
              <a:srgbClr val="3EA3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="" xmlns:a16="http://schemas.microsoft.com/office/drawing/2014/main" id="{D229F716-A23C-497A-9DF4-27E7442EE618}"/>
                </a:ext>
              </a:extLst>
            </p:cNvPr>
            <p:cNvSpPr/>
            <p:nvPr/>
          </p:nvSpPr>
          <p:spPr>
            <a:xfrm>
              <a:off x="5537901" y="3304181"/>
              <a:ext cx="1582995" cy="30579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16" y="7094"/>
                  </a:moveTo>
                  <a:lnTo>
                    <a:pt x="14424" y="6186"/>
                  </a:lnTo>
                  <a:lnTo>
                    <a:pt x="12569" y="3467"/>
                  </a:lnTo>
                  <a:lnTo>
                    <a:pt x="9735" y="4745"/>
                  </a:lnTo>
                  <a:lnTo>
                    <a:pt x="6863" y="4000"/>
                  </a:lnTo>
                  <a:lnTo>
                    <a:pt x="6863" y="0"/>
                  </a:lnTo>
                  <a:lnTo>
                    <a:pt x="5240" y="4585"/>
                  </a:lnTo>
                  <a:lnTo>
                    <a:pt x="8964" y="7840"/>
                  </a:lnTo>
                  <a:lnTo>
                    <a:pt x="7316" y="11199"/>
                  </a:lnTo>
                  <a:lnTo>
                    <a:pt x="6863" y="9813"/>
                  </a:lnTo>
                  <a:lnTo>
                    <a:pt x="5240" y="11839"/>
                  </a:lnTo>
                  <a:lnTo>
                    <a:pt x="1872" y="10826"/>
                  </a:lnTo>
                  <a:lnTo>
                    <a:pt x="8" y="13280"/>
                  </a:lnTo>
                  <a:lnTo>
                    <a:pt x="1872" y="13708"/>
                  </a:lnTo>
                  <a:lnTo>
                    <a:pt x="0" y="16495"/>
                  </a:lnTo>
                  <a:lnTo>
                    <a:pt x="762" y="18539"/>
                  </a:lnTo>
                  <a:lnTo>
                    <a:pt x="7367" y="21600"/>
                  </a:lnTo>
                  <a:lnTo>
                    <a:pt x="8917" y="19589"/>
                  </a:lnTo>
                  <a:lnTo>
                    <a:pt x="11899" y="15651"/>
                  </a:lnTo>
                  <a:lnTo>
                    <a:pt x="13657" y="12298"/>
                  </a:lnTo>
                  <a:lnTo>
                    <a:pt x="14403" y="12298"/>
                  </a:lnTo>
                  <a:lnTo>
                    <a:pt x="15775" y="11252"/>
                  </a:lnTo>
                  <a:lnTo>
                    <a:pt x="16046" y="9660"/>
                  </a:lnTo>
                  <a:lnTo>
                    <a:pt x="18847" y="9155"/>
                  </a:lnTo>
                  <a:lnTo>
                    <a:pt x="19893" y="5846"/>
                  </a:lnTo>
                  <a:lnTo>
                    <a:pt x="21600" y="4377"/>
                  </a:lnTo>
                  <a:lnTo>
                    <a:pt x="17516" y="496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="" xmlns:a16="http://schemas.microsoft.com/office/drawing/2014/main" id="{6C68552B-8EB4-4A74-9B62-C27D932C7AD0}"/>
                </a:ext>
              </a:extLst>
            </p:cNvPr>
            <p:cNvSpPr/>
            <p:nvPr/>
          </p:nvSpPr>
          <p:spPr>
            <a:xfrm>
              <a:off x="4606544" y="3304181"/>
              <a:ext cx="455125" cy="14771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76" y="5080"/>
                  </a:moveTo>
                  <a:lnTo>
                    <a:pt x="12642" y="0"/>
                  </a:lnTo>
                  <a:lnTo>
                    <a:pt x="0" y="2402"/>
                  </a:lnTo>
                  <a:lnTo>
                    <a:pt x="501" y="2560"/>
                  </a:lnTo>
                  <a:lnTo>
                    <a:pt x="4435" y="7391"/>
                  </a:lnTo>
                  <a:lnTo>
                    <a:pt x="2962" y="15558"/>
                  </a:lnTo>
                  <a:lnTo>
                    <a:pt x="10594" y="15172"/>
                  </a:lnTo>
                  <a:lnTo>
                    <a:pt x="14425" y="21600"/>
                  </a:lnTo>
                  <a:lnTo>
                    <a:pt x="18727" y="17632"/>
                  </a:lnTo>
                  <a:lnTo>
                    <a:pt x="19228" y="17955"/>
                  </a:lnTo>
                  <a:lnTo>
                    <a:pt x="21600" y="3509"/>
                  </a:lnTo>
                  <a:close/>
                </a:path>
              </a:pathLst>
            </a:custGeom>
            <a:solidFill>
              <a:srgbClr val="2F94C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="" xmlns:a16="http://schemas.microsoft.com/office/drawing/2014/main" id="{B1D00586-86F8-4F1B-A435-FF537334BF7B}"/>
                </a:ext>
              </a:extLst>
            </p:cNvPr>
            <p:cNvSpPr/>
            <p:nvPr/>
          </p:nvSpPr>
          <p:spPr>
            <a:xfrm>
              <a:off x="5364340" y="3757990"/>
              <a:ext cx="339327" cy="770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596"/>
                  </a:moveTo>
                  <a:lnTo>
                    <a:pt x="11245" y="0"/>
                  </a:lnTo>
                  <a:lnTo>
                    <a:pt x="13102" y="6564"/>
                  </a:lnTo>
                  <a:lnTo>
                    <a:pt x="21600" y="4867"/>
                  </a:lnTo>
                  <a:lnTo>
                    <a:pt x="10790" y="2160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Shape">
              <a:extLst>
                <a:ext uri="{FF2B5EF4-FFF2-40B4-BE49-F238E27FC236}">
                  <a16:creationId xmlns="" xmlns:a16="http://schemas.microsoft.com/office/drawing/2014/main" id="{1B676C5F-AAD8-4CC1-838E-9F4491161FEC}"/>
                </a:ext>
              </a:extLst>
            </p:cNvPr>
            <p:cNvSpPr/>
            <p:nvPr/>
          </p:nvSpPr>
          <p:spPr>
            <a:xfrm>
              <a:off x="6856178" y="3222951"/>
              <a:ext cx="266992" cy="2645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" name="Group 63">
              <a:extLst>
                <a:ext uri="{FF2B5EF4-FFF2-40B4-BE49-F238E27FC236}">
                  <a16:creationId xmlns="" xmlns:a16="http://schemas.microsoft.com/office/drawing/2014/main" id="{4DDACEBD-DBB3-432A-B4EA-BCDCB189793D}"/>
                </a:ext>
              </a:extLst>
            </p:cNvPr>
            <p:cNvGrpSpPr/>
            <p:nvPr/>
          </p:nvGrpSpPr>
          <p:grpSpPr>
            <a:xfrm>
              <a:off x="5347659" y="4761159"/>
              <a:ext cx="440392" cy="530063"/>
              <a:chOff x="3863481" y="3960327"/>
              <a:chExt cx="577850" cy="695510"/>
            </a:xfrm>
          </p:grpSpPr>
          <p:sp>
            <p:nvSpPr>
              <p:cNvPr id="65" name="Freeform 80">
                <a:extLst>
                  <a:ext uri="{FF2B5EF4-FFF2-40B4-BE49-F238E27FC236}">
                    <a16:creationId xmlns="" xmlns:a16="http://schemas.microsoft.com/office/drawing/2014/main" id="{88701793-9C20-49DE-9F9D-B3FBEC592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304" y="4017907"/>
                <a:ext cx="217488" cy="637930"/>
              </a:xfrm>
              <a:custGeom>
                <a:avLst/>
                <a:gdLst>
                  <a:gd name="T0" fmla="*/ 455 w 546"/>
                  <a:gd name="T1" fmla="*/ 1684 h 1684"/>
                  <a:gd name="T2" fmla="*/ 36 w 546"/>
                  <a:gd name="T3" fmla="*/ 136 h 1684"/>
                  <a:gd name="T4" fmla="*/ 0 w 546"/>
                  <a:gd name="T5" fmla="*/ 0 h 1684"/>
                  <a:gd name="T6" fmla="*/ 546 w 546"/>
                  <a:gd name="T7" fmla="*/ 509 h 1684"/>
                  <a:gd name="T8" fmla="*/ 455 w 546"/>
                  <a:gd name="T9" fmla="*/ 1684 h 1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1684">
                    <a:moveTo>
                      <a:pt x="455" y="1684"/>
                    </a:moveTo>
                    <a:lnTo>
                      <a:pt x="36" y="136"/>
                    </a:lnTo>
                    <a:lnTo>
                      <a:pt x="0" y="0"/>
                    </a:lnTo>
                    <a:lnTo>
                      <a:pt x="546" y="509"/>
                    </a:lnTo>
                    <a:lnTo>
                      <a:pt x="455" y="1684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1">
                <a:extLst>
                  <a:ext uri="{FF2B5EF4-FFF2-40B4-BE49-F238E27FC236}">
                    <a16:creationId xmlns="" xmlns:a16="http://schemas.microsoft.com/office/drawing/2014/main" id="{483D09D2-D3B9-4B5B-99AD-51DEB5B45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4456" y="4054274"/>
                <a:ext cx="396875" cy="601563"/>
              </a:xfrm>
              <a:custGeom>
                <a:avLst/>
                <a:gdLst>
                  <a:gd name="T0" fmla="*/ 0 w 1002"/>
                  <a:gd name="T1" fmla="*/ 1589 h 1589"/>
                  <a:gd name="T2" fmla="*/ 91 w 1002"/>
                  <a:gd name="T3" fmla="*/ 414 h 1589"/>
                  <a:gd name="T4" fmla="*/ 1002 w 1002"/>
                  <a:gd name="T5" fmla="*/ 0 h 1589"/>
                  <a:gd name="T6" fmla="*/ 360 w 1002"/>
                  <a:gd name="T7" fmla="*/ 1572 h 1589"/>
                  <a:gd name="T8" fmla="*/ 0 w 1002"/>
                  <a:gd name="T9" fmla="*/ 1589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2" h="1589">
                    <a:moveTo>
                      <a:pt x="0" y="1589"/>
                    </a:moveTo>
                    <a:lnTo>
                      <a:pt x="91" y="414"/>
                    </a:lnTo>
                    <a:lnTo>
                      <a:pt x="1002" y="0"/>
                    </a:lnTo>
                    <a:lnTo>
                      <a:pt x="360" y="1572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2">
                <a:extLst>
                  <a:ext uri="{FF2B5EF4-FFF2-40B4-BE49-F238E27FC236}">
                    <a16:creationId xmlns="" xmlns:a16="http://schemas.microsoft.com/office/drawing/2014/main" id="{84252830-68BA-4298-A99B-E50A5AED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481" y="3960327"/>
                <a:ext cx="577850" cy="250020"/>
              </a:xfrm>
              <a:custGeom>
                <a:avLst/>
                <a:gdLst>
                  <a:gd name="T0" fmla="*/ 546 w 1457"/>
                  <a:gd name="T1" fmla="*/ 661 h 661"/>
                  <a:gd name="T2" fmla="*/ 546 w 1457"/>
                  <a:gd name="T3" fmla="*/ 661 h 661"/>
                  <a:gd name="T4" fmla="*/ 0 w 1457"/>
                  <a:gd name="T5" fmla="*/ 152 h 661"/>
                  <a:gd name="T6" fmla="*/ 119 w 1457"/>
                  <a:gd name="T7" fmla="*/ 138 h 661"/>
                  <a:gd name="T8" fmla="*/ 1323 w 1457"/>
                  <a:gd name="T9" fmla="*/ 0 h 661"/>
                  <a:gd name="T10" fmla="*/ 1457 w 1457"/>
                  <a:gd name="T11" fmla="*/ 247 h 661"/>
                  <a:gd name="T12" fmla="*/ 546 w 1457"/>
                  <a:gd name="T13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661">
                    <a:moveTo>
                      <a:pt x="546" y="661"/>
                    </a:moveTo>
                    <a:lnTo>
                      <a:pt x="546" y="661"/>
                    </a:lnTo>
                    <a:lnTo>
                      <a:pt x="0" y="152"/>
                    </a:lnTo>
                    <a:lnTo>
                      <a:pt x="119" y="138"/>
                    </a:lnTo>
                    <a:lnTo>
                      <a:pt x="1323" y="0"/>
                    </a:lnTo>
                    <a:lnTo>
                      <a:pt x="1457" y="247"/>
                    </a:lnTo>
                    <a:lnTo>
                      <a:pt x="546" y="661"/>
                    </a:lnTo>
                    <a:close/>
                  </a:path>
                </a:pathLst>
              </a:custGeom>
              <a:solidFill>
                <a:srgbClr val="44ADE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6" name="Shape">
              <a:extLst>
                <a:ext uri="{FF2B5EF4-FFF2-40B4-BE49-F238E27FC236}">
                  <a16:creationId xmlns="" xmlns:a16="http://schemas.microsoft.com/office/drawing/2014/main" id="{4FB62E69-F5B2-4D59-A759-8081A2111207}"/>
                </a:ext>
              </a:extLst>
            </p:cNvPr>
            <p:cNvSpPr/>
            <p:nvPr/>
          </p:nvSpPr>
          <p:spPr>
            <a:xfrm>
              <a:off x="6199098" y="4516025"/>
              <a:ext cx="339327" cy="502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69" name="Picture 10" descr="A close up of a sign&#10;&#10;Description generated with very high confidence">
            <a:extLst>
              <a:ext uri="{FF2B5EF4-FFF2-40B4-BE49-F238E27FC236}">
                <a16:creationId xmlns="" xmlns:a16="http://schemas.microsoft.com/office/drawing/2014/main" id="{E45C217D-8EA7-44C5-BC78-A9F3532BDEE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9056161" y="981282"/>
            <a:ext cx="936000" cy="936000"/>
          </a:xfrm>
          <a:prstGeom prst="rect">
            <a:avLst/>
          </a:prstGeom>
        </p:spPr>
      </p:pic>
      <p:pic>
        <p:nvPicPr>
          <p:cNvPr id="70" name="Picture 12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F621FA95-ABBC-4C7B-9FDA-D5BD71C2755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9951759" y="979036"/>
            <a:ext cx="936000" cy="936000"/>
          </a:xfrm>
          <a:prstGeom prst="rect">
            <a:avLst/>
          </a:prstGeom>
        </p:spPr>
      </p:pic>
      <p:pic>
        <p:nvPicPr>
          <p:cNvPr id="71" name="Picture 16" descr="A close up of a sign&#10;&#10;Description generated with high confidence">
            <a:extLst>
              <a:ext uri="{FF2B5EF4-FFF2-40B4-BE49-F238E27FC236}">
                <a16:creationId xmlns="" xmlns:a16="http://schemas.microsoft.com/office/drawing/2014/main" id="{4CF25813-E658-4B4D-BBBC-F1EAFAE8A2C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834678" y="957452"/>
            <a:ext cx="936000" cy="936000"/>
          </a:xfrm>
          <a:prstGeom prst="rect">
            <a:avLst/>
          </a:prstGeom>
        </p:spPr>
      </p:pic>
      <p:pic>
        <p:nvPicPr>
          <p:cNvPr id="72" name="Picture 19" descr="A close up of a sign&#10;&#10;Description generated with very high confidence">
            <a:extLst>
              <a:ext uri="{FF2B5EF4-FFF2-40B4-BE49-F238E27FC236}">
                <a16:creationId xmlns="" xmlns:a16="http://schemas.microsoft.com/office/drawing/2014/main" id="{5B190E77-F5C2-434A-AF46-E3D6FBB29D2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8151448" y="979086"/>
            <a:ext cx="936000" cy="936000"/>
          </a:xfrm>
          <a:prstGeom prst="rect">
            <a:avLst/>
          </a:prstGeom>
        </p:spPr>
      </p:pic>
      <p:pic>
        <p:nvPicPr>
          <p:cNvPr id="73" name="Picture 21" descr="A picture containing food, drawing&#10;&#10;Description generated with very high confidence">
            <a:extLst>
              <a:ext uri="{FF2B5EF4-FFF2-40B4-BE49-F238E27FC236}">
                <a16:creationId xmlns="" xmlns:a16="http://schemas.microsoft.com/office/drawing/2014/main" id="{A163DF1C-6E39-4E55-987A-3D5ED6DDD83B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489202" y="3694468"/>
            <a:ext cx="936000" cy="936000"/>
          </a:xfrm>
          <a:prstGeom prst="rect">
            <a:avLst/>
          </a:prstGeom>
        </p:spPr>
      </p:pic>
      <p:pic>
        <p:nvPicPr>
          <p:cNvPr id="74" name="Picture 2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A14CAB87-04E7-45CD-AB90-817707FAFD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14845" y="3862905"/>
            <a:ext cx="1666875" cy="647700"/>
          </a:xfrm>
          <a:prstGeom prst="rect">
            <a:avLst/>
          </a:prstGeom>
        </p:spPr>
      </p:pic>
      <p:pic>
        <p:nvPicPr>
          <p:cNvPr id="75" name="Picture 25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688958FB-9328-46DE-A5FD-EF57B13728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73678" y="4881574"/>
            <a:ext cx="1600200" cy="800100"/>
          </a:xfrm>
          <a:prstGeom prst="rect">
            <a:avLst/>
          </a:prstGeom>
        </p:spPr>
      </p:pic>
      <p:pic>
        <p:nvPicPr>
          <p:cNvPr id="76" name="Picture 31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324CA61B-30C9-4D66-BFFD-759F44E429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22743" y="2030406"/>
            <a:ext cx="1532344" cy="800224"/>
          </a:xfrm>
          <a:prstGeom prst="rect">
            <a:avLst/>
          </a:prstGeom>
        </p:spPr>
      </p:pic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9406164" y="2005013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883650" y="2019527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9101364" y="1888899"/>
            <a:ext cx="7239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7" name="TextBox 76"/>
          <p:cNvSpPr txBox="1"/>
          <p:nvPr/>
        </p:nvSpPr>
        <p:spPr>
          <a:xfrm>
            <a:off x="1175658" y="1233714"/>
            <a:ext cx="204812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FRONTEND</a:t>
            </a:r>
            <a:endParaRPr lang="en-US" sz="3200" dirty="0"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320801" y="3410858"/>
            <a:ext cx="17886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BACKEND</a:t>
            </a:r>
            <a:endParaRPr lang="en-US" sz="3200" dirty="0">
              <a:latin typeface="+mj-lt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306285" y="2278743"/>
            <a:ext cx="18882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dirty="0" smtClean="0">
                <a:latin typeface="+mj-lt"/>
              </a:rPr>
              <a:t>DATABASE</a:t>
            </a:r>
            <a:endParaRPr lang="en-US" sz="3200" dirty="0">
              <a:latin typeface="+mj-lt"/>
            </a:endParaRPr>
          </a:p>
        </p:txBody>
      </p:sp>
      <p:pic>
        <p:nvPicPr>
          <p:cNvPr id="80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sp>
        <p:nvSpPr>
          <p:cNvPr id="81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solidFill>
            <a:srgbClr val="652D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742264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0" dirty="0" smtClean="0">
                <a:latin typeface="Algerian" pitchFamily="82" charset="0"/>
              </a:rPr>
              <a:t>                               THE TEAM </a:t>
            </a:r>
            <a:endParaRPr lang="en-US" sz="4400" b="0" dirty="0">
              <a:latin typeface="Algerian" pitchFamily="82" charset="0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AB855109-2D86-4202-B9CE-3E60F8439916}"/>
              </a:ext>
            </a:extLst>
          </p:cNvPr>
          <p:cNvGrpSpPr/>
          <p:nvPr/>
        </p:nvGrpSpPr>
        <p:grpSpPr>
          <a:xfrm>
            <a:off x="681789" y="1102989"/>
            <a:ext cx="2447777" cy="2755468"/>
            <a:chOff x="623732" y="1700808"/>
            <a:chExt cx="2447777" cy="2755468"/>
          </a:xfrm>
        </p:grpSpPr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8F690F4E-3D7E-4F5E-9B02-B891D5D646E7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67" name="Group 96">
              <a:extLst>
                <a:ext uri="{FF2B5EF4-FFF2-40B4-BE49-F238E27FC236}">
                  <a16:creationId xmlns="" xmlns:a16="http://schemas.microsoft.com/office/drawing/2014/main" id="{712D4734-0353-4FE4-96B3-AD192F545BE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0" name="Rectangle 69">
                <a:extLst>
                  <a:ext uri="{FF2B5EF4-FFF2-40B4-BE49-F238E27FC236}">
                    <a16:creationId xmlns="" xmlns:a16="http://schemas.microsoft.com/office/drawing/2014/main" id="{C0B07BAC-93A8-45B6-BE07-BE882C3D3DF9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="" xmlns:a16="http://schemas.microsoft.com/office/drawing/2014/main" id="{ABEC2427-8F00-4485-94C0-D9B26344DC89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68" name="Oval 67">
              <a:extLst>
                <a:ext uri="{FF2B5EF4-FFF2-40B4-BE49-F238E27FC236}">
                  <a16:creationId xmlns="" xmlns:a16="http://schemas.microsoft.com/office/drawing/2014/main" id="{AC835937-FF0B-4413-924A-E3794F0F7C86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4000096-66AA-40A4-9D26-CD35CDCDBCD8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ASHWITHA</a:t>
              </a:r>
              <a:endParaRPr lang="en-US" sz="1400" b="1" cap="all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FEB87E8E-BCC2-4F58-96DB-712CDA809F68}"/>
              </a:ext>
            </a:extLst>
          </p:cNvPr>
          <p:cNvGrpSpPr/>
          <p:nvPr/>
        </p:nvGrpSpPr>
        <p:grpSpPr>
          <a:xfrm>
            <a:off x="5052505" y="3841274"/>
            <a:ext cx="2447777" cy="2755468"/>
            <a:chOff x="623732" y="1700808"/>
            <a:chExt cx="2447777" cy="2755468"/>
          </a:xfrm>
        </p:grpSpPr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B172C5D-76AE-42A9-ABD2-4DCB4F89713A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74" name="Group 108">
              <a:extLst>
                <a:ext uri="{FF2B5EF4-FFF2-40B4-BE49-F238E27FC236}">
                  <a16:creationId xmlns="" xmlns:a16="http://schemas.microsoft.com/office/drawing/2014/main" id="{4F5FCE93-828B-4B1E-B820-2377049A89FC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8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7" name="Rectangle 76">
                <a:extLst>
                  <a:ext uri="{FF2B5EF4-FFF2-40B4-BE49-F238E27FC236}">
                    <a16:creationId xmlns="" xmlns:a16="http://schemas.microsoft.com/office/drawing/2014/main" id="{9BC2D6E2-96BE-4135-8F63-BF903BCE584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="" xmlns:a16="http://schemas.microsoft.com/office/drawing/2014/main" id="{F4F4BFA7-C569-4D46-BE63-FCFD1F19C2FC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75" name="Oval 74">
              <a:extLst>
                <a:ext uri="{FF2B5EF4-FFF2-40B4-BE49-F238E27FC236}">
                  <a16:creationId xmlns="" xmlns:a16="http://schemas.microsoft.com/office/drawing/2014/main" id="{44CDA6A8-397F-4258-A209-25B86A2F94A8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="" xmlns:a16="http://schemas.microsoft.com/office/drawing/2014/main" id="{78D84C72-3012-45FF-86BF-308B6D8CBFA6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RAHUL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0318065E-A294-4E65-A4C0-DAEE53FCA635}"/>
              </a:ext>
            </a:extLst>
          </p:cNvPr>
          <p:cNvGrpSpPr/>
          <p:nvPr/>
        </p:nvGrpSpPr>
        <p:grpSpPr>
          <a:xfrm>
            <a:off x="8871677" y="1073961"/>
            <a:ext cx="2447777" cy="2755468"/>
            <a:chOff x="623732" y="1700808"/>
            <a:chExt cx="2447777" cy="2755468"/>
          </a:xfrm>
        </p:grpSpPr>
        <p:sp>
          <p:nvSpPr>
            <p:cNvPr id="80" name="Rectangle 79">
              <a:extLst>
                <a:ext uri="{FF2B5EF4-FFF2-40B4-BE49-F238E27FC236}">
                  <a16:creationId xmlns="" xmlns:a16="http://schemas.microsoft.com/office/drawing/2014/main" id="{F474000E-D212-491D-AB32-7FAF8AACE6B8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81" name="Group 120">
              <a:extLst>
                <a:ext uri="{FF2B5EF4-FFF2-40B4-BE49-F238E27FC236}">
                  <a16:creationId xmlns="" xmlns:a16="http://schemas.microsoft.com/office/drawing/2014/main" id="{0A9A15C3-DC20-414F-8A02-9E39D4BE7145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4" name="Rectangle 83">
                <a:extLst>
                  <a:ext uri="{FF2B5EF4-FFF2-40B4-BE49-F238E27FC236}">
                    <a16:creationId xmlns="" xmlns:a16="http://schemas.microsoft.com/office/drawing/2014/main" id="{C2F079F1-7B0C-4B0E-8149-404262F49CF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="" xmlns:a16="http://schemas.microsoft.com/office/drawing/2014/main" id="{E2030D19-CF7C-417A-8E54-63BAB3DDA076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2" name="Oval 81">
              <a:extLst>
                <a:ext uri="{FF2B5EF4-FFF2-40B4-BE49-F238E27FC236}">
                  <a16:creationId xmlns="" xmlns:a16="http://schemas.microsoft.com/office/drawing/2014/main" id="{1F374CE3-6273-4782-9B26-3545507AC5F1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="" xmlns:a16="http://schemas.microsoft.com/office/drawing/2014/main" id="{CDDE039A-3E4B-47D7-9C58-4E9E2DBECBA4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RAKSHIT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4DC0DE2C-009F-4A74-A8C5-0991A13F5674}"/>
              </a:ext>
            </a:extLst>
          </p:cNvPr>
          <p:cNvGrpSpPr/>
          <p:nvPr/>
        </p:nvGrpSpPr>
        <p:grpSpPr>
          <a:xfrm>
            <a:off x="673022" y="3870303"/>
            <a:ext cx="2447777" cy="2755468"/>
            <a:chOff x="623732" y="1700808"/>
            <a:chExt cx="2447777" cy="2755468"/>
          </a:xfrm>
        </p:grpSpPr>
        <p:sp>
          <p:nvSpPr>
            <p:cNvPr id="87" name="Rectangle 86">
              <a:extLst>
                <a:ext uri="{FF2B5EF4-FFF2-40B4-BE49-F238E27FC236}">
                  <a16:creationId xmlns="" xmlns:a16="http://schemas.microsoft.com/office/drawing/2014/main" id="{52C39B97-B560-4BE5-B0D2-183E10628583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88" name="Group 132">
              <a:extLst>
                <a:ext uri="{FF2B5EF4-FFF2-40B4-BE49-F238E27FC236}">
                  <a16:creationId xmlns="" xmlns:a16="http://schemas.microsoft.com/office/drawing/2014/main" id="{9AFFEB4B-02EB-45BB-9CE8-7954348FC95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3A9BF196-1861-4622-90E1-D7ABA55E37E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="" xmlns:a16="http://schemas.microsoft.com/office/drawing/2014/main" id="{29257E26-875C-4FEF-AE74-EF0BE0B01142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9" name="Oval 88">
              <a:extLst>
                <a:ext uri="{FF2B5EF4-FFF2-40B4-BE49-F238E27FC236}">
                  <a16:creationId xmlns="" xmlns:a16="http://schemas.microsoft.com/office/drawing/2014/main" id="{757AA729-CF0F-42E1-8F15-2394EE18B7B9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="" xmlns:a16="http://schemas.microsoft.com/office/drawing/2014/main" id="{C359CD9B-F410-425A-8A94-18AD457B1CC9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SAHANA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="" xmlns:a16="http://schemas.microsoft.com/office/drawing/2014/main" id="{AB855109-2D86-4202-B9CE-3E60F8439916}"/>
              </a:ext>
            </a:extLst>
          </p:cNvPr>
          <p:cNvGrpSpPr/>
          <p:nvPr/>
        </p:nvGrpSpPr>
        <p:grpSpPr>
          <a:xfrm>
            <a:off x="8918648" y="3913847"/>
            <a:ext cx="2447777" cy="2755468"/>
            <a:chOff x="623732" y="1700808"/>
            <a:chExt cx="2447777" cy="2755468"/>
          </a:xfrm>
        </p:grpSpPr>
        <p:sp>
          <p:nvSpPr>
            <p:cNvPr id="94" name="Rectangle 93">
              <a:extLst>
                <a:ext uri="{FF2B5EF4-FFF2-40B4-BE49-F238E27FC236}">
                  <a16:creationId xmlns="" xmlns:a16="http://schemas.microsoft.com/office/drawing/2014/main" id="{8F690F4E-3D7E-4F5E-9B02-B891D5D646E7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95" name="Group 96">
              <a:extLst>
                <a:ext uri="{FF2B5EF4-FFF2-40B4-BE49-F238E27FC236}">
                  <a16:creationId xmlns="" xmlns:a16="http://schemas.microsoft.com/office/drawing/2014/main" id="{712D4734-0353-4FE4-96B3-AD192F545BEF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661886"/>
              <a:chOff x="623732" y="1700808"/>
              <a:chExt cx="2447777" cy="261324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8" name="Rectangle 97">
                <a:extLst>
                  <a:ext uri="{FF2B5EF4-FFF2-40B4-BE49-F238E27FC236}">
                    <a16:creationId xmlns="" xmlns:a16="http://schemas.microsoft.com/office/drawing/2014/main" id="{C0B07BAC-93A8-45B6-BE07-BE882C3D3DF9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132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="" xmlns:a16="http://schemas.microsoft.com/office/drawing/2014/main" id="{ABEC2427-8F00-4485-94C0-D9B26344DC89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6" name="Oval 95">
              <a:extLst>
                <a:ext uri="{FF2B5EF4-FFF2-40B4-BE49-F238E27FC236}">
                  <a16:creationId xmlns="" xmlns:a16="http://schemas.microsoft.com/office/drawing/2014/main" id="{AC835937-FF0B-4413-924A-E3794F0F7C86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="" xmlns:a16="http://schemas.microsoft.com/office/drawing/2014/main" id="{34000096-66AA-40A4-9D26-CD35CDCDBCD8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SUPRITA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87543" y="1290411"/>
            <a:ext cx="1862817" cy="1902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16000" y="1353459"/>
            <a:ext cx="1839684" cy="183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2057" y="4073599"/>
            <a:ext cx="1817914" cy="187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183207" y="4151086"/>
            <a:ext cx="1941993" cy="1869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5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96948" y="4078514"/>
            <a:ext cx="1855108" cy="1890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7" name="Picture 3" descr="A picture containing drawing&#10;&#10;Description generated with very high confidence">
            <a:extLst>
              <a:ext uri="{FF2B5EF4-FFF2-40B4-BE49-F238E27FC236}">
                <a16:creationId xmlns="" xmlns:a16="http://schemas.microsoft.com/office/drawing/2014/main" id="{2375219A-FB3B-4422-809B-000B6D1239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47065" y="18382"/>
            <a:ext cx="1139659" cy="104607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FEB87E8E-BCC2-4F58-96DB-712CDA809F68}"/>
              </a:ext>
            </a:extLst>
          </p:cNvPr>
          <p:cNvGrpSpPr/>
          <p:nvPr/>
        </p:nvGrpSpPr>
        <p:grpSpPr>
          <a:xfrm>
            <a:off x="5059760" y="1119846"/>
            <a:ext cx="2447777" cy="2755468"/>
            <a:chOff x="623732" y="1700808"/>
            <a:chExt cx="2447777" cy="2755468"/>
          </a:xfrm>
        </p:grpSpPr>
        <p:sp>
          <p:nvSpPr>
            <p:cNvPr id="45" name="Rectangle 44">
              <a:extLst>
                <a:ext uri="{FF2B5EF4-FFF2-40B4-BE49-F238E27FC236}">
                  <a16:creationId xmlns="" xmlns:a16="http://schemas.microsoft.com/office/drawing/2014/main" id="{5B172C5D-76AE-42A9-ABD2-4DCB4F89713A}"/>
                </a:ext>
              </a:extLst>
            </p:cNvPr>
            <p:cNvSpPr/>
            <p:nvPr/>
          </p:nvSpPr>
          <p:spPr>
            <a:xfrm>
              <a:off x="623732" y="3933056"/>
              <a:ext cx="2447777" cy="52322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Jane Doe</a:t>
              </a:r>
            </a:p>
          </p:txBody>
        </p:sp>
        <p:grpSp>
          <p:nvGrpSpPr>
            <p:cNvPr id="46" name="Group 108">
              <a:extLst>
                <a:ext uri="{FF2B5EF4-FFF2-40B4-BE49-F238E27FC236}">
                  <a16:creationId xmlns="" xmlns:a16="http://schemas.microsoft.com/office/drawing/2014/main" id="{4F5FCE93-828B-4B1E-B820-2377049A89FC}"/>
                </a:ext>
              </a:extLst>
            </p:cNvPr>
            <p:cNvGrpSpPr/>
            <p:nvPr/>
          </p:nvGrpSpPr>
          <p:grpSpPr>
            <a:xfrm>
              <a:off x="623732" y="1700808"/>
              <a:ext cx="2447777" cy="2733324"/>
              <a:chOff x="623732" y="1700808"/>
              <a:chExt cx="2447777" cy="268338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9" name="Rectangle 48">
                <a:extLst>
                  <a:ext uri="{FF2B5EF4-FFF2-40B4-BE49-F238E27FC236}">
                    <a16:creationId xmlns="" xmlns:a16="http://schemas.microsoft.com/office/drawing/2014/main" id="{9BC2D6E2-96BE-4135-8F63-BF903BCE584E}"/>
                  </a:ext>
                </a:extLst>
              </p:cNvPr>
              <p:cNvSpPr/>
              <p:nvPr/>
            </p:nvSpPr>
            <p:spPr>
              <a:xfrm>
                <a:off x="623732" y="1700808"/>
                <a:ext cx="2447777" cy="26833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="" xmlns:a16="http://schemas.microsoft.com/office/drawing/2014/main" id="{F4F4BFA7-C569-4D46-BE63-FCFD1F19C2FC}"/>
                  </a:ext>
                </a:extLst>
              </p:cNvPr>
              <p:cNvSpPr/>
              <p:nvPr/>
            </p:nvSpPr>
            <p:spPr>
              <a:xfrm>
                <a:off x="623732" y="1703090"/>
                <a:ext cx="2447777" cy="112879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FFC000"/>
                  </a:solidFill>
                </a:endParaRPr>
              </a:p>
            </p:txBody>
          </p:sp>
        </p:grpSp>
        <p:sp>
          <p:nvSpPr>
            <p:cNvPr id="47" name="Oval 46">
              <a:extLst>
                <a:ext uri="{FF2B5EF4-FFF2-40B4-BE49-F238E27FC236}">
                  <a16:creationId xmlns="" xmlns:a16="http://schemas.microsoft.com/office/drawing/2014/main" id="{44CDA6A8-397F-4258-A209-25B86A2F94A8}"/>
                </a:ext>
              </a:extLst>
            </p:cNvPr>
            <p:cNvSpPr/>
            <p:nvPr/>
          </p:nvSpPr>
          <p:spPr>
            <a:xfrm>
              <a:off x="983524" y="1988840"/>
              <a:ext cx="1728192" cy="1728192"/>
            </a:xfrm>
            <a:prstGeom prst="ellipse">
              <a:avLst/>
            </a:prstGeom>
            <a:solidFill>
              <a:schemeClr val="tx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="" xmlns:a16="http://schemas.microsoft.com/office/drawing/2014/main" id="{78D84C72-3012-45FF-86BF-308B6D8CBFA6}"/>
                </a:ext>
              </a:extLst>
            </p:cNvPr>
            <p:cNvSpPr/>
            <p:nvPr/>
          </p:nvSpPr>
          <p:spPr>
            <a:xfrm>
              <a:off x="623732" y="3807537"/>
              <a:ext cx="2447777" cy="523220"/>
            </a:xfrm>
            <a:prstGeom prst="rect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cap="all" dirty="0" smtClean="0">
                  <a:solidFill>
                    <a:schemeClr val="tx2"/>
                  </a:solidFill>
                </a:rPr>
                <a:t>UPASANA (TRAINER) </a:t>
              </a:r>
              <a:endParaRPr lang="en-US" sz="1400" b="1" cap="all" dirty="0">
                <a:solidFill>
                  <a:schemeClr val="tx2"/>
                </a:solidFill>
              </a:endParaRPr>
            </a:p>
          </p:txBody>
        </p:sp>
      </p:grpSp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9312" y="1352171"/>
            <a:ext cx="1817914" cy="187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290456" y="1389742"/>
            <a:ext cx="1861457" cy="1861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: Shape 56">
            <a:extLst>
              <a:ext uri="{FF2B5EF4-FFF2-40B4-BE49-F238E27FC236}">
                <a16:creationId xmlns:a16="http://schemas.microsoft.com/office/drawing/2014/main" xmlns="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xmlns="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8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BA8C45E-8FA0-4167-B280-478FCF9C9782}"/>
              </a:ext>
            </a:extLst>
          </p:cNvPr>
          <p:cNvSpPr/>
          <p:nvPr/>
        </p:nvSpPr>
        <p:spPr>
          <a:xfrm>
            <a:off x="2841523" y="8062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DFA55B-06B3-4979-8714-3ECB2AA1D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3943" y="841227"/>
            <a:ext cx="4531735" cy="775612"/>
          </a:xfrm>
        </p:spPr>
        <p:txBody>
          <a:bodyPr>
            <a:normAutofit/>
          </a:bodyPr>
          <a:lstStyle/>
          <a:p>
            <a:r>
              <a:rPr lang="en-IN" b="0" dirty="0" smtClean="0">
                <a:solidFill>
                  <a:schemeClr val="bg1"/>
                </a:solidFill>
                <a:latin typeface="Algerian" pitchFamily="82" charset="0"/>
              </a:rPr>
              <a:t>CONCLUSION </a:t>
            </a:r>
            <a:endParaRPr lang="en-US" b="0" dirty="0">
              <a:solidFill>
                <a:schemeClr val="bg1"/>
              </a:solidFill>
              <a:latin typeface="Algerian" pitchFamily="8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Picture 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xmlns="" id="{1D8F474B-1150-494F-9BEB-289ACC4F21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5908" b="98219" l="9939" r="95997">
                        <a14:foregroundMark x1="76507" y1="12250" x2="79350" y2="6255"/>
                        <a14:foregroundMark x1="79350" y1="6255" x2="80168" y2="5951"/>
                        <a14:foregroundMark x1="77826" y1="11772" x2="78531" y2="10165"/>
                        <a14:foregroundMark x1="79145" y1="37315" x2="78053" y2="41790"/>
                        <a14:foregroundMark x1="88833" y1="43267" x2="92245" y2="48306"/>
                        <a14:foregroundMark x1="92245" y1="48306" x2="93609" y2="54170"/>
                        <a14:foregroundMark x1="83693" y1="74935" x2="83693" y2="71937"/>
                        <a14:foregroundMark x1="95793" y1="60295" x2="96020" y2="68636"/>
                        <a14:foregroundMark x1="77758" y1="85838" x2="78599" y2="982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3892"/>
          <a:stretch/>
        </p:blipFill>
        <p:spPr>
          <a:xfrm>
            <a:off x="191242" y="94367"/>
            <a:ext cx="4665893" cy="676363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23AF1DA8-2D4F-48A8-9C59-2ABC51E61DA0}"/>
              </a:ext>
            </a:extLst>
          </p:cNvPr>
          <p:cNvGrpSpPr/>
          <p:nvPr/>
        </p:nvGrpSpPr>
        <p:grpSpPr>
          <a:xfrm>
            <a:off x="11233702" y="983226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xmlns="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xmlns="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xmlns="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xmlns="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xmlns="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xmlns="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xmlns="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xmlns="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xmlns="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xmlns="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2E181B9E-329C-48FF-B68C-0714AF5FD970}"/>
              </a:ext>
            </a:extLst>
          </p:cNvPr>
          <p:cNvGrpSpPr/>
          <p:nvPr/>
        </p:nvGrpSpPr>
        <p:grpSpPr>
          <a:xfrm>
            <a:off x="4911725" y="2137697"/>
            <a:ext cx="6670676" cy="430887"/>
            <a:chOff x="4911725" y="2108610"/>
            <a:chExt cx="6670676" cy="43088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5D6F9627-DD2A-418F-9FB1-59EDA3AF076F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B8C4FD4E-5B61-4F64-A78C-FA633DC9A8A4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xmlns="" id="{E2826D37-A47D-438A-B760-3A83D823772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xmlns="" id="{8BD42D57-AD82-4318-98AA-6CA5DE0E9969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Isosceles Triangle 20">
                <a:extLst>
                  <a:ext uri="{FF2B5EF4-FFF2-40B4-BE49-F238E27FC236}">
                    <a16:creationId xmlns:a16="http://schemas.microsoft.com/office/drawing/2014/main" xmlns="" id="{0C42278B-1FBB-45F7-8F1B-0F911C6CC342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xmlns="" id="{10AE614F-FA75-4779-8DE4-E62ECDBDA351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B80358DE-7FE0-4DA0-B97F-BC9A33E2283C}"/>
              </a:ext>
            </a:extLst>
          </p:cNvPr>
          <p:cNvGrpSpPr/>
          <p:nvPr/>
        </p:nvGrpSpPr>
        <p:grpSpPr>
          <a:xfrm>
            <a:off x="4911725" y="2951828"/>
            <a:ext cx="6670676" cy="430887"/>
            <a:chOff x="4911725" y="2108610"/>
            <a:chExt cx="6670676" cy="43088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400DC46-1CB6-4F28-A173-A6D4E8539FF7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85AC496F-DD91-4DA1-8BE4-284283E9A515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xmlns="" id="{196B42B2-8F72-46B4-BB6B-56514B097A0F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Rectangle: Top Corners Rounded 29">
                <a:extLst>
                  <a:ext uri="{FF2B5EF4-FFF2-40B4-BE49-F238E27FC236}">
                    <a16:creationId xmlns:a16="http://schemas.microsoft.com/office/drawing/2014/main" xmlns="" id="{B5BC2749-8958-470C-B99A-6BD4BEE25600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Isosceles Triangle 30">
                <a:extLst>
                  <a:ext uri="{FF2B5EF4-FFF2-40B4-BE49-F238E27FC236}">
                    <a16:creationId xmlns:a16="http://schemas.microsoft.com/office/drawing/2014/main" xmlns="" id="{6C44C614-2C6C-44BB-9B27-C97A1E92145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Isosceles Triangle 31">
                <a:extLst>
                  <a:ext uri="{FF2B5EF4-FFF2-40B4-BE49-F238E27FC236}">
                    <a16:creationId xmlns:a16="http://schemas.microsoft.com/office/drawing/2014/main" xmlns="" id="{2037CBF3-F247-498F-8DD7-5910803D20F5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1E7FAB7B-0366-450D-A4A9-06073DBD8A80}"/>
              </a:ext>
            </a:extLst>
          </p:cNvPr>
          <p:cNvGrpSpPr/>
          <p:nvPr/>
        </p:nvGrpSpPr>
        <p:grpSpPr>
          <a:xfrm>
            <a:off x="4911725" y="3765959"/>
            <a:ext cx="6670676" cy="430887"/>
            <a:chOff x="4911725" y="2108610"/>
            <a:chExt cx="6670676" cy="43088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A70A8568-9E0A-4D6C-AF7C-A779549C350A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3212686E-0DAC-4468-A035-77BCC7E844E7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xmlns="" id="{52E004BC-6894-4C2B-A070-45859714BEC7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tangle: Top Corners Rounded 36">
                <a:extLst>
                  <a:ext uri="{FF2B5EF4-FFF2-40B4-BE49-F238E27FC236}">
                    <a16:creationId xmlns:a16="http://schemas.microsoft.com/office/drawing/2014/main" xmlns="" id="{1221C558-72F7-4D22-A66A-F63D62602B48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Isosceles Triangle 37">
                <a:extLst>
                  <a:ext uri="{FF2B5EF4-FFF2-40B4-BE49-F238E27FC236}">
                    <a16:creationId xmlns:a16="http://schemas.microsoft.com/office/drawing/2014/main" xmlns="" id="{ED17C36D-5E53-4F18-BBD4-86A51BA63B2E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Isosceles Triangle 38">
                <a:extLst>
                  <a:ext uri="{FF2B5EF4-FFF2-40B4-BE49-F238E27FC236}">
                    <a16:creationId xmlns:a16="http://schemas.microsoft.com/office/drawing/2014/main" xmlns="" id="{2EBF2114-E17C-48B3-985C-14D1CBBE0A8A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8578B2A0-E042-43F3-B80E-0C9868058C5D}"/>
              </a:ext>
            </a:extLst>
          </p:cNvPr>
          <p:cNvGrpSpPr/>
          <p:nvPr/>
        </p:nvGrpSpPr>
        <p:grpSpPr>
          <a:xfrm>
            <a:off x="4911725" y="4580090"/>
            <a:ext cx="6670676" cy="430887"/>
            <a:chOff x="4911725" y="2108610"/>
            <a:chExt cx="6670676" cy="430887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448DE759-3039-4746-9203-8CC89518B968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xmlns="" id="{03B6ECAE-E7D6-41B3-8EC9-9903AF10AA23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xmlns="" id="{A6CDDE7D-ACA7-4BD4-8E20-040B1CF6491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Rectangle: Top Corners Rounded 43">
                <a:extLst>
                  <a:ext uri="{FF2B5EF4-FFF2-40B4-BE49-F238E27FC236}">
                    <a16:creationId xmlns:a16="http://schemas.microsoft.com/office/drawing/2014/main" xmlns="" id="{8F26CC45-8445-49A1-B554-6AC3A2983345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Isosceles Triangle 44">
                <a:extLst>
                  <a:ext uri="{FF2B5EF4-FFF2-40B4-BE49-F238E27FC236}">
                    <a16:creationId xmlns:a16="http://schemas.microsoft.com/office/drawing/2014/main" xmlns="" id="{7A69FD42-1BD0-463B-A50A-278C72A5BA4A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Isosceles Triangle 45">
                <a:extLst>
                  <a:ext uri="{FF2B5EF4-FFF2-40B4-BE49-F238E27FC236}">
                    <a16:creationId xmlns:a16="http://schemas.microsoft.com/office/drawing/2014/main" xmlns="" id="{8496F3C4-5C8E-4360-A917-BDA1B2C150DB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DCCA5244-7CE1-4C00-89CF-F460567C02F3}"/>
              </a:ext>
            </a:extLst>
          </p:cNvPr>
          <p:cNvGrpSpPr/>
          <p:nvPr/>
        </p:nvGrpSpPr>
        <p:grpSpPr>
          <a:xfrm>
            <a:off x="4911725" y="5394222"/>
            <a:ext cx="6670676" cy="430887"/>
            <a:chOff x="4911725" y="2108610"/>
            <a:chExt cx="6670676" cy="43088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0E025770-E015-4BB1-98EE-B935D370CDAD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xmlns="" id="{7C9C78A1-1F18-4D6D-8E57-36317A5B7E5E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xmlns="" id="{B621523B-F035-403E-A525-9646B34DDD59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Rectangle: Top Corners Rounded 50">
                <a:extLst>
                  <a:ext uri="{FF2B5EF4-FFF2-40B4-BE49-F238E27FC236}">
                    <a16:creationId xmlns:a16="http://schemas.microsoft.com/office/drawing/2014/main" xmlns="" id="{8D545BD3-58DE-4FC6-A749-737AC6139BE3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Isosceles Triangle 51">
                <a:extLst>
                  <a:ext uri="{FF2B5EF4-FFF2-40B4-BE49-F238E27FC236}">
                    <a16:creationId xmlns:a16="http://schemas.microsoft.com/office/drawing/2014/main" xmlns="" id="{E9A083F0-8033-4A68-9F9E-42F3C27CFBC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Isosceles Triangle 52">
                <a:extLst>
                  <a:ext uri="{FF2B5EF4-FFF2-40B4-BE49-F238E27FC236}">
                    <a16:creationId xmlns:a16="http://schemas.microsoft.com/office/drawing/2014/main" xmlns="" id="{2FD145D3-F032-4110-B5AE-24EEFAE4BF88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EE2274C-E216-46E6-9984-EBFFA630B138}"/>
              </a:ext>
            </a:extLst>
          </p:cNvPr>
          <p:cNvCxnSpPr>
            <a:cxnSpLocks/>
          </p:cNvCxnSpPr>
          <p:nvPr/>
        </p:nvCxnSpPr>
        <p:spPr>
          <a:xfrm>
            <a:off x="5461000" y="2760206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55CEFE62-F4AE-435B-ADA2-3BFAE6D97F54}"/>
              </a:ext>
            </a:extLst>
          </p:cNvPr>
          <p:cNvCxnSpPr>
            <a:cxnSpLocks/>
          </p:cNvCxnSpPr>
          <p:nvPr/>
        </p:nvCxnSpPr>
        <p:spPr>
          <a:xfrm>
            <a:off x="5461000" y="3574337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F98B464-6848-4A75-8586-DF8D0BDD98C0}"/>
              </a:ext>
            </a:extLst>
          </p:cNvPr>
          <p:cNvCxnSpPr>
            <a:cxnSpLocks/>
          </p:cNvCxnSpPr>
          <p:nvPr/>
        </p:nvCxnSpPr>
        <p:spPr>
          <a:xfrm>
            <a:off x="5461000" y="4388468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9F02B74C-EED4-4408-AD9C-B0D067B9F596}"/>
              </a:ext>
            </a:extLst>
          </p:cNvPr>
          <p:cNvCxnSpPr>
            <a:cxnSpLocks/>
          </p:cNvCxnSpPr>
          <p:nvPr/>
        </p:nvCxnSpPr>
        <p:spPr>
          <a:xfrm>
            <a:off x="5461000" y="5202599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23567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2437B"/>
      </a:accent1>
      <a:accent2>
        <a:srgbClr val="FF7A8A"/>
      </a:accent2>
      <a:accent3>
        <a:srgbClr val="FCF594"/>
      </a:accent3>
      <a:accent4>
        <a:srgbClr val="52437B"/>
      </a:accent4>
      <a:accent5>
        <a:srgbClr val="FF7A8A"/>
      </a:accent5>
      <a:accent6>
        <a:srgbClr val="FCF594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6</TotalTime>
  <Words>289</Words>
  <Application>Microsoft Office PowerPoint</Application>
  <PresentationFormat>Custom</PresentationFormat>
  <Paragraphs>72</Paragraphs>
  <Slides>10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Office Theme</vt:lpstr>
      <vt:lpstr>1_Office Theme</vt:lpstr>
      <vt:lpstr>Template PresentationGo</vt:lpstr>
      <vt:lpstr>think-cell Slide</vt:lpstr>
      <vt:lpstr>Slide 1</vt:lpstr>
      <vt:lpstr>Slide 2</vt:lpstr>
      <vt:lpstr>Slide 3</vt:lpstr>
      <vt:lpstr>Slide 4</vt:lpstr>
      <vt:lpstr>Slide 5</vt:lpstr>
      <vt:lpstr>                           FUNCTIONALITY</vt:lpstr>
      <vt:lpstr>                 TECHNOLOGIES   USED </vt:lpstr>
      <vt:lpstr>                               THE TEAM </vt:lpstr>
      <vt:lpstr>CONCLUSION 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RAHUL KUMAR</cp:lastModifiedBy>
  <cp:revision>152</cp:revision>
  <dcterms:created xsi:type="dcterms:W3CDTF">2019-05-28T07:34:16Z</dcterms:created>
  <dcterms:modified xsi:type="dcterms:W3CDTF">2020-01-17T04:47:16Z</dcterms:modified>
</cp:coreProperties>
</file>